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0" r:id="rId1"/>
  </p:sldMasterIdLst>
  <p:notesMasterIdLst>
    <p:notesMasterId r:id="rId20"/>
  </p:notesMasterIdLst>
  <p:handoutMasterIdLst>
    <p:handoutMasterId r:id="rId21"/>
  </p:handoutMasterIdLst>
  <p:sldIdLst>
    <p:sldId id="256" r:id="rId2"/>
    <p:sldId id="374" r:id="rId3"/>
    <p:sldId id="348" r:id="rId4"/>
    <p:sldId id="396" r:id="rId5"/>
    <p:sldId id="395" r:id="rId6"/>
    <p:sldId id="398" r:id="rId7"/>
    <p:sldId id="397" r:id="rId8"/>
    <p:sldId id="399" r:id="rId9"/>
    <p:sldId id="402" r:id="rId10"/>
    <p:sldId id="403" r:id="rId11"/>
    <p:sldId id="404" r:id="rId12"/>
    <p:sldId id="401" r:id="rId13"/>
    <p:sldId id="400" r:id="rId14"/>
    <p:sldId id="405" r:id="rId15"/>
    <p:sldId id="327" r:id="rId16"/>
    <p:sldId id="406" r:id="rId17"/>
    <p:sldId id="284" r:id="rId18"/>
    <p:sldId id="285" r:id="rId19"/>
  </p:sldIdLst>
  <p:sldSz cx="16256000" cy="9145588"/>
  <p:notesSz cx="6888163" cy="10020300"/>
  <p:custDataLst>
    <p:tags r:id="rId22"/>
  </p:custDataLst>
  <p:defaultTextStyle>
    <a:defPPr>
      <a:defRPr lang="de-DE"/>
    </a:defPPr>
    <a:lvl1pPr marL="0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25759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51519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77278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03037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28796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54556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080315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06074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CFFF993-ABBB-4E51-8730-CB72006FD746}">
          <p14:sldIdLst>
            <p14:sldId id="256"/>
            <p14:sldId id="374"/>
            <p14:sldId id="348"/>
            <p14:sldId id="396"/>
            <p14:sldId id="395"/>
            <p14:sldId id="398"/>
            <p14:sldId id="397"/>
            <p14:sldId id="399"/>
            <p14:sldId id="402"/>
            <p14:sldId id="403"/>
            <p14:sldId id="404"/>
            <p14:sldId id="401"/>
            <p14:sldId id="400"/>
            <p14:sldId id="405"/>
            <p14:sldId id="327"/>
            <p14:sldId id="406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627" userDrawn="1">
          <p15:clr>
            <a:srgbClr val="A4A3A4"/>
          </p15:clr>
        </p15:guide>
        <p15:guide id="2" orient="horz" pos="5511" userDrawn="1">
          <p15:clr>
            <a:srgbClr val="A4A3A4"/>
          </p15:clr>
        </p15:guide>
        <p15:guide id="3" orient="horz" pos="5194" userDrawn="1">
          <p15:clr>
            <a:srgbClr val="A4A3A4"/>
          </p15:clr>
        </p15:guide>
        <p15:guide id="4" pos="335" userDrawn="1">
          <p15:clr>
            <a:srgbClr val="A4A3A4"/>
          </p15:clr>
        </p15:guide>
        <p15:guide id="5" pos="7660" userDrawn="1">
          <p15:clr>
            <a:srgbClr val="A4A3A4"/>
          </p15:clr>
        </p15:guide>
        <p15:guide id="6" pos="39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93D3FF"/>
    <a:srgbClr val="6EACF2"/>
    <a:srgbClr val="BFBFBF"/>
    <a:srgbClr val="791F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 snapToObjects="1" showGuides="1">
      <p:cViewPr>
        <p:scale>
          <a:sx n="80" d="100"/>
          <a:sy n="80" d="100"/>
        </p:scale>
        <p:origin x="-480" y="516"/>
      </p:cViewPr>
      <p:guideLst>
        <p:guide orient="horz" pos="4627"/>
        <p:guide orient="horz" pos="5511"/>
        <p:guide orient="horz" pos="5194"/>
        <p:guide pos="335"/>
        <p:guide pos="7660"/>
        <p:guide pos="3941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239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E9FED6-90B1-442A-9818-119122574DC5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693B3DB-9004-4D6A-80A2-50B488D9AAF7}">
      <dgm:prSet phldrT="[Text]" custT="1"/>
      <dgm:spPr/>
      <dgm:t>
        <a:bodyPr/>
        <a:lstStyle/>
        <a:p>
          <a:r>
            <a:rPr lang="de-DE" sz="2400" b="1" dirty="0" err="1"/>
            <a:t>Artificial</a:t>
          </a:r>
          <a:r>
            <a:rPr lang="de-DE" sz="2400" b="1" dirty="0"/>
            <a:t> </a:t>
          </a:r>
          <a:r>
            <a:rPr lang="de-DE" sz="2400" b="1" dirty="0" err="1"/>
            <a:t>Intelligence</a:t>
          </a:r>
          <a:r>
            <a:rPr lang="de-DE" sz="2400" b="1" dirty="0"/>
            <a:t> (AI)</a:t>
          </a:r>
          <a:endParaRPr lang="de-DE" sz="2800" b="1" dirty="0"/>
        </a:p>
        <a:p>
          <a:r>
            <a:rPr lang="de-DE" sz="1600" dirty="0"/>
            <a:t>A </a:t>
          </a:r>
          <a:r>
            <a:rPr lang="de-DE" sz="1600" dirty="0" err="1"/>
            <a:t>program</a:t>
          </a:r>
          <a:r>
            <a:rPr lang="de-DE" sz="1600" dirty="0"/>
            <a:t> </a:t>
          </a:r>
          <a:r>
            <a:rPr lang="de-DE" sz="1600" dirty="0" err="1"/>
            <a:t>that</a:t>
          </a:r>
          <a:r>
            <a:rPr lang="de-DE" sz="1600" dirty="0"/>
            <a:t> </a:t>
          </a:r>
          <a:r>
            <a:rPr lang="de-DE" sz="1600" dirty="0" err="1"/>
            <a:t>can</a:t>
          </a:r>
          <a:r>
            <a:rPr lang="de-DE" sz="1600" dirty="0"/>
            <a:t> sense, </a:t>
          </a:r>
          <a:r>
            <a:rPr lang="de-DE" sz="1600" dirty="0" err="1"/>
            <a:t>reason</a:t>
          </a:r>
          <a:r>
            <a:rPr lang="de-DE" sz="1600" dirty="0"/>
            <a:t>, </a:t>
          </a:r>
          <a:r>
            <a:rPr lang="de-DE" sz="1600" dirty="0" err="1"/>
            <a:t>act</a:t>
          </a:r>
          <a:r>
            <a:rPr lang="de-DE" sz="1600" dirty="0"/>
            <a:t> and </a:t>
          </a:r>
          <a:r>
            <a:rPr lang="de-DE" sz="1600" dirty="0" err="1"/>
            <a:t>adapt</a:t>
          </a:r>
          <a:endParaRPr lang="de-DE" sz="1600" dirty="0"/>
        </a:p>
      </dgm:t>
    </dgm:pt>
    <dgm:pt modelId="{B554B9E8-270A-4812-966C-C1520A0DBF4D}" type="parTrans" cxnId="{E82822EB-4EE0-4D45-AF2F-C87098E543A6}">
      <dgm:prSet/>
      <dgm:spPr/>
      <dgm:t>
        <a:bodyPr/>
        <a:lstStyle/>
        <a:p>
          <a:endParaRPr lang="de-DE"/>
        </a:p>
      </dgm:t>
    </dgm:pt>
    <dgm:pt modelId="{39B94B8B-1884-48FF-838A-C78D4EBA2200}" type="sibTrans" cxnId="{E82822EB-4EE0-4D45-AF2F-C87098E543A6}">
      <dgm:prSet/>
      <dgm:spPr/>
      <dgm:t>
        <a:bodyPr/>
        <a:lstStyle/>
        <a:p>
          <a:endParaRPr lang="de-DE"/>
        </a:p>
      </dgm:t>
    </dgm:pt>
    <dgm:pt modelId="{EDF342EF-03A0-4D8D-A848-CF0D730C9834}">
      <dgm:prSet phldrT="[Text]" custT="1"/>
      <dgm:spPr/>
      <dgm:t>
        <a:bodyPr/>
        <a:lstStyle/>
        <a:p>
          <a:r>
            <a:rPr lang="de-DE" sz="2400" b="1" dirty="0" err="1"/>
            <a:t>Machine</a:t>
          </a:r>
          <a:r>
            <a:rPr lang="de-DE" sz="2400" b="1" dirty="0"/>
            <a:t> Learning (ML)</a:t>
          </a:r>
        </a:p>
        <a:p>
          <a:r>
            <a:rPr lang="de-DE" sz="1600" b="0" dirty="0" err="1"/>
            <a:t>Algorithms</a:t>
          </a:r>
          <a:r>
            <a:rPr lang="de-DE" sz="1600" b="0" dirty="0"/>
            <a:t> </a:t>
          </a:r>
          <a:r>
            <a:rPr lang="de-DE" sz="1600" b="0" dirty="0" err="1"/>
            <a:t>whose</a:t>
          </a:r>
          <a:r>
            <a:rPr lang="de-DE" sz="1600" b="0" dirty="0"/>
            <a:t> </a:t>
          </a:r>
          <a:r>
            <a:rPr lang="de-DE" sz="1600" b="0" dirty="0" err="1"/>
            <a:t>performance</a:t>
          </a:r>
          <a:r>
            <a:rPr lang="de-DE" sz="1600" b="0" dirty="0"/>
            <a:t> </a:t>
          </a:r>
          <a:r>
            <a:rPr lang="de-DE" sz="1600" b="0" dirty="0" err="1"/>
            <a:t>improve</a:t>
          </a:r>
          <a:r>
            <a:rPr lang="de-DE" sz="1600" b="0" dirty="0"/>
            <a:t> </a:t>
          </a:r>
          <a:r>
            <a:rPr lang="de-DE" sz="1600" b="0" dirty="0" err="1"/>
            <a:t>as</a:t>
          </a:r>
          <a:r>
            <a:rPr lang="de-DE" sz="1600" b="0" dirty="0"/>
            <a:t> </a:t>
          </a:r>
          <a:r>
            <a:rPr lang="de-DE" sz="1600" b="0" dirty="0" err="1"/>
            <a:t>they</a:t>
          </a:r>
          <a:r>
            <a:rPr lang="de-DE" sz="1600" b="0" dirty="0"/>
            <a:t> </a:t>
          </a:r>
          <a:r>
            <a:rPr lang="de-DE" sz="1600" b="0" dirty="0" err="1"/>
            <a:t>are</a:t>
          </a:r>
          <a:r>
            <a:rPr lang="de-DE" sz="1600" b="0" dirty="0"/>
            <a:t> </a:t>
          </a:r>
          <a:r>
            <a:rPr lang="de-DE" sz="1600" b="0" dirty="0" err="1"/>
            <a:t>exposed</a:t>
          </a:r>
          <a:r>
            <a:rPr lang="de-DE" sz="1600" b="0" dirty="0"/>
            <a:t> </a:t>
          </a:r>
          <a:r>
            <a:rPr lang="de-DE" sz="1600" b="0" dirty="0" err="1"/>
            <a:t>to</a:t>
          </a:r>
          <a:r>
            <a:rPr lang="de-DE" sz="1600" b="0" dirty="0"/>
            <a:t> </a:t>
          </a:r>
          <a:r>
            <a:rPr lang="de-DE" sz="1600" b="0" dirty="0" err="1"/>
            <a:t>more</a:t>
          </a:r>
          <a:r>
            <a:rPr lang="de-DE" sz="1600" b="0" dirty="0"/>
            <a:t> </a:t>
          </a:r>
          <a:r>
            <a:rPr lang="de-DE" sz="1600" b="0" dirty="0" err="1"/>
            <a:t>data</a:t>
          </a:r>
          <a:r>
            <a:rPr lang="de-DE" sz="1600" b="0" dirty="0"/>
            <a:t> </a:t>
          </a:r>
          <a:r>
            <a:rPr lang="de-DE" sz="1600" b="0" dirty="0" err="1"/>
            <a:t>over</a:t>
          </a:r>
          <a:r>
            <a:rPr lang="de-DE" sz="1600" b="0" dirty="0"/>
            <a:t> time </a:t>
          </a:r>
        </a:p>
      </dgm:t>
    </dgm:pt>
    <dgm:pt modelId="{6126630B-03E7-4E80-94D1-5C98612984AB}" type="parTrans" cxnId="{44F8C108-796D-4846-8DA8-2BB23C15186C}">
      <dgm:prSet/>
      <dgm:spPr/>
      <dgm:t>
        <a:bodyPr/>
        <a:lstStyle/>
        <a:p>
          <a:endParaRPr lang="de-DE"/>
        </a:p>
      </dgm:t>
    </dgm:pt>
    <dgm:pt modelId="{3C932E2D-2EB7-4CD2-8AE2-08B344FC23FA}" type="sibTrans" cxnId="{44F8C108-796D-4846-8DA8-2BB23C15186C}">
      <dgm:prSet/>
      <dgm:spPr/>
      <dgm:t>
        <a:bodyPr/>
        <a:lstStyle/>
        <a:p>
          <a:endParaRPr lang="de-DE"/>
        </a:p>
      </dgm:t>
    </dgm:pt>
    <dgm:pt modelId="{AF8E440E-2579-48BF-BFEE-F45F8923A1A7}">
      <dgm:prSet phldrT="[Text]" custT="1"/>
      <dgm:spPr/>
      <dgm:t>
        <a:bodyPr/>
        <a:lstStyle/>
        <a:p>
          <a:r>
            <a:rPr lang="de-DE" sz="2400" b="1" dirty="0"/>
            <a:t>Deep Learning (DL)</a:t>
          </a:r>
        </a:p>
        <a:p>
          <a:r>
            <a:rPr lang="de-DE" sz="1600" dirty="0" err="1"/>
            <a:t>Subset</a:t>
          </a:r>
          <a:r>
            <a:rPr lang="de-DE" sz="1600" dirty="0"/>
            <a:t> </a:t>
          </a:r>
          <a:r>
            <a:rPr lang="de-DE" sz="1600" dirty="0" err="1"/>
            <a:t>of</a:t>
          </a:r>
          <a:r>
            <a:rPr lang="de-DE" sz="1600" dirty="0"/>
            <a:t> ML in </a:t>
          </a:r>
          <a:r>
            <a:rPr lang="de-DE" sz="1600" dirty="0" err="1"/>
            <a:t>which</a:t>
          </a:r>
          <a:r>
            <a:rPr lang="de-DE" sz="1600" dirty="0"/>
            <a:t> </a:t>
          </a:r>
          <a:r>
            <a:rPr lang="de-DE" sz="1600" dirty="0" err="1"/>
            <a:t>multilayered</a:t>
          </a:r>
          <a:r>
            <a:rPr lang="de-DE" sz="1600" dirty="0"/>
            <a:t> </a:t>
          </a:r>
          <a:r>
            <a:rPr lang="de-DE" sz="1600" dirty="0" err="1"/>
            <a:t>neural</a:t>
          </a:r>
          <a:r>
            <a:rPr lang="de-DE" sz="1600" dirty="0"/>
            <a:t> </a:t>
          </a:r>
          <a:r>
            <a:rPr lang="de-DE" sz="1600" dirty="0" err="1"/>
            <a:t>networks</a:t>
          </a:r>
          <a:r>
            <a:rPr lang="de-DE" sz="1600" dirty="0"/>
            <a:t> </a:t>
          </a:r>
          <a:r>
            <a:rPr lang="de-DE" sz="1600" dirty="0" err="1"/>
            <a:t>learn</a:t>
          </a:r>
          <a:r>
            <a:rPr lang="de-DE" sz="1600" dirty="0"/>
            <a:t> </a:t>
          </a:r>
          <a:r>
            <a:rPr lang="de-DE" sz="1600" dirty="0" err="1"/>
            <a:t>from</a:t>
          </a:r>
          <a:r>
            <a:rPr lang="de-DE" sz="1600" dirty="0"/>
            <a:t> </a:t>
          </a:r>
          <a:r>
            <a:rPr lang="de-DE" sz="1600" dirty="0" err="1"/>
            <a:t>vast</a:t>
          </a:r>
          <a:r>
            <a:rPr lang="de-DE" sz="1600" dirty="0"/>
            <a:t> </a:t>
          </a:r>
          <a:r>
            <a:rPr lang="de-DE" sz="1600" dirty="0" err="1"/>
            <a:t>amounts</a:t>
          </a:r>
          <a:r>
            <a:rPr lang="de-DE" sz="1600" dirty="0"/>
            <a:t> </a:t>
          </a:r>
          <a:r>
            <a:rPr lang="de-DE" sz="1600" dirty="0" err="1"/>
            <a:t>of</a:t>
          </a:r>
          <a:r>
            <a:rPr lang="de-DE" sz="1600" dirty="0"/>
            <a:t> </a:t>
          </a:r>
          <a:r>
            <a:rPr lang="de-DE" sz="1600" dirty="0" err="1"/>
            <a:t>data</a:t>
          </a:r>
          <a:endParaRPr lang="de-DE" sz="1600" dirty="0"/>
        </a:p>
      </dgm:t>
    </dgm:pt>
    <dgm:pt modelId="{61F57BE6-8C47-44B1-BB95-99E9CE5077CE}" type="parTrans" cxnId="{59C352C0-286A-414F-80F3-69D11BC4E057}">
      <dgm:prSet/>
      <dgm:spPr/>
      <dgm:t>
        <a:bodyPr/>
        <a:lstStyle/>
        <a:p>
          <a:endParaRPr lang="de-DE"/>
        </a:p>
      </dgm:t>
    </dgm:pt>
    <dgm:pt modelId="{A5EB977B-A8D8-47CD-9DD4-DAE79C5D3E3E}" type="sibTrans" cxnId="{59C352C0-286A-414F-80F3-69D11BC4E057}">
      <dgm:prSet/>
      <dgm:spPr/>
      <dgm:t>
        <a:bodyPr/>
        <a:lstStyle/>
        <a:p>
          <a:endParaRPr lang="de-DE"/>
        </a:p>
      </dgm:t>
    </dgm:pt>
    <dgm:pt modelId="{18C5AE46-A206-41EE-969F-01FEC4D4B832}" type="pres">
      <dgm:prSet presAssocID="{D6E9FED6-90B1-442A-9818-119122574DC5}" presName="Name0" presStyleCnt="0">
        <dgm:presLayoutVars>
          <dgm:chMax val="7"/>
          <dgm:resizeHandles val="exact"/>
        </dgm:presLayoutVars>
      </dgm:prSet>
      <dgm:spPr/>
    </dgm:pt>
    <dgm:pt modelId="{2D43A579-99E6-48B7-B94D-176B78D08518}" type="pres">
      <dgm:prSet presAssocID="{D6E9FED6-90B1-442A-9818-119122574DC5}" presName="comp1" presStyleCnt="0"/>
      <dgm:spPr/>
    </dgm:pt>
    <dgm:pt modelId="{FC5C68B5-B0DB-4163-9231-30D0A6DFD01F}" type="pres">
      <dgm:prSet presAssocID="{D6E9FED6-90B1-442A-9818-119122574DC5}" presName="circle1" presStyleLbl="node1" presStyleIdx="0" presStyleCnt="3"/>
      <dgm:spPr/>
    </dgm:pt>
    <dgm:pt modelId="{25F4E37B-2C2C-4FE3-9383-F82D89A5B97F}" type="pres">
      <dgm:prSet presAssocID="{D6E9FED6-90B1-442A-9818-119122574DC5}" presName="c1text" presStyleLbl="node1" presStyleIdx="0" presStyleCnt="3">
        <dgm:presLayoutVars>
          <dgm:bulletEnabled val="1"/>
        </dgm:presLayoutVars>
      </dgm:prSet>
      <dgm:spPr/>
    </dgm:pt>
    <dgm:pt modelId="{0DF251DC-829D-4504-9548-94C8DB61847D}" type="pres">
      <dgm:prSet presAssocID="{D6E9FED6-90B1-442A-9818-119122574DC5}" presName="comp2" presStyleCnt="0"/>
      <dgm:spPr/>
    </dgm:pt>
    <dgm:pt modelId="{F348CCE5-0D2E-418D-A05C-7D7AA27B0DA4}" type="pres">
      <dgm:prSet presAssocID="{D6E9FED6-90B1-442A-9818-119122574DC5}" presName="circle2" presStyleLbl="node1" presStyleIdx="1" presStyleCnt="3"/>
      <dgm:spPr/>
    </dgm:pt>
    <dgm:pt modelId="{4994DA81-868E-4932-83A5-08B24EAE98D2}" type="pres">
      <dgm:prSet presAssocID="{D6E9FED6-90B1-442A-9818-119122574DC5}" presName="c2text" presStyleLbl="node1" presStyleIdx="1" presStyleCnt="3">
        <dgm:presLayoutVars>
          <dgm:bulletEnabled val="1"/>
        </dgm:presLayoutVars>
      </dgm:prSet>
      <dgm:spPr/>
    </dgm:pt>
    <dgm:pt modelId="{BAFB2184-FFDE-449D-9DB5-DB9C6D737B12}" type="pres">
      <dgm:prSet presAssocID="{D6E9FED6-90B1-442A-9818-119122574DC5}" presName="comp3" presStyleCnt="0"/>
      <dgm:spPr/>
    </dgm:pt>
    <dgm:pt modelId="{3F575DEC-5534-49F8-864F-3DCBE6C27B77}" type="pres">
      <dgm:prSet presAssocID="{D6E9FED6-90B1-442A-9818-119122574DC5}" presName="circle3" presStyleLbl="node1" presStyleIdx="2" presStyleCnt="3"/>
      <dgm:spPr/>
    </dgm:pt>
    <dgm:pt modelId="{0B1CC397-FDF7-4303-AF83-373B0F5B45BB}" type="pres">
      <dgm:prSet presAssocID="{D6E9FED6-90B1-442A-9818-119122574DC5}" presName="c3text" presStyleLbl="node1" presStyleIdx="2" presStyleCnt="3">
        <dgm:presLayoutVars>
          <dgm:bulletEnabled val="1"/>
        </dgm:presLayoutVars>
      </dgm:prSet>
      <dgm:spPr/>
    </dgm:pt>
  </dgm:ptLst>
  <dgm:cxnLst>
    <dgm:cxn modelId="{26C2B300-AD22-45E3-B97A-BD6E1EF2FB0B}" type="presOf" srcId="{EDF342EF-03A0-4D8D-A848-CF0D730C9834}" destId="{F348CCE5-0D2E-418D-A05C-7D7AA27B0DA4}" srcOrd="0" destOrd="0" presId="urn:microsoft.com/office/officeart/2005/8/layout/venn2"/>
    <dgm:cxn modelId="{44F8C108-796D-4846-8DA8-2BB23C15186C}" srcId="{D6E9FED6-90B1-442A-9818-119122574DC5}" destId="{EDF342EF-03A0-4D8D-A848-CF0D730C9834}" srcOrd="1" destOrd="0" parTransId="{6126630B-03E7-4E80-94D1-5C98612984AB}" sibTransId="{3C932E2D-2EB7-4CD2-8AE2-08B344FC23FA}"/>
    <dgm:cxn modelId="{5EFF714D-9EF5-475A-9B01-5C78ED23BF7C}" type="presOf" srcId="{4693B3DB-9004-4D6A-80A2-50B488D9AAF7}" destId="{25F4E37B-2C2C-4FE3-9383-F82D89A5B97F}" srcOrd="1" destOrd="0" presId="urn:microsoft.com/office/officeart/2005/8/layout/venn2"/>
    <dgm:cxn modelId="{9A6331A3-EA44-4DFF-B9A9-5C794DAC5EFF}" type="presOf" srcId="{AF8E440E-2579-48BF-BFEE-F45F8923A1A7}" destId="{0B1CC397-FDF7-4303-AF83-373B0F5B45BB}" srcOrd="1" destOrd="0" presId="urn:microsoft.com/office/officeart/2005/8/layout/venn2"/>
    <dgm:cxn modelId="{37FF16B7-36FE-4522-B91E-226CE8994800}" type="presOf" srcId="{AF8E440E-2579-48BF-BFEE-F45F8923A1A7}" destId="{3F575DEC-5534-49F8-864F-3DCBE6C27B77}" srcOrd="0" destOrd="0" presId="urn:microsoft.com/office/officeart/2005/8/layout/venn2"/>
    <dgm:cxn modelId="{C1FA70BE-3FBC-4AF3-A543-0CB27D45D43F}" type="presOf" srcId="{4693B3DB-9004-4D6A-80A2-50B488D9AAF7}" destId="{FC5C68B5-B0DB-4163-9231-30D0A6DFD01F}" srcOrd="0" destOrd="0" presId="urn:microsoft.com/office/officeart/2005/8/layout/venn2"/>
    <dgm:cxn modelId="{59C352C0-286A-414F-80F3-69D11BC4E057}" srcId="{D6E9FED6-90B1-442A-9818-119122574DC5}" destId="{AF8E440E-2579-48BF-BFEE-F45F8923A1A7}" srcOrd="2" destOrd="0" parTransId="{61F57BE6-8C47-44B1-BB95-99E9CE5077CE}" sibTransId="{A5EB977B-A8D8-47CD-9DD4-DAE79C5D3E3E}"/>
    <dgm:cxn modelId="{087C37E0-521D-43A1-A9E9-E753B126A6C6}" type="presOf" srcId="{D6E9FED6-90B1-442A-9818-119122574DC5}" destId="{18C5AE46-A206-41EE-969F-01FEC4D4B832}" srcOrd="0" destOrd="0" presId="urn:microsoft.com/office/officeart/2005/8/layout/venn2"/>
    <dgm:cxn modelId="{E82822EB-4EE0-4D45-AF2F-C87098E543A6}" srcId="{D6E9FED6-90B1-442A-9818-119122574DC5}" destId="{4693B3DB-9004-4D6A-80A2-50B488D9AAF7}" srcOrd="0" destOrd="0" parTransId="{B554B9E8-270A-4812-966C-C1520A0DBF4D}" sibTransId="{39B94B8B-1884-48FF-838A-C78D4EBA2200}"/>
    <dgm:cxn modelId="{A48001F9-1527-4E03-8F2D-970690514C90}" type="presOf" srcId="{EDF342EF-03A0-4D8D-A848-CF0D730C9834}" destId="{4994DA81-868E-4932-83A5-08B24EAE98D2}" srcOrd="1" destOrd="0" presId="urn:microsoft.com/office/officeart/2005/8/layout/venn2"/>
    <dgm:cxn modelId="{7005BA9F-7E6D-4232-AC4F-71B6BC2DA076}" type="presParOf" srcId="{18C5AE46-A206-41EE-969F-01FEC4D4B832}" destId="{2D43A579-99E6-48B7-B94D-176B78D08518}" srcOrd="0" destOrd="0" presId="urn:microsoft.com/office/officeart/2005/8/layout/venn2"/>
    <dgm:cxn modelId="{AB307BD0-CA3D-42CC-815F-8AB480EBBC1D}" type="presParOf" srcId="{2D43A579-99E6-48B7-B94D-176B78D08518}" destId="{FC5C68B5-B0DB-4163-9231-30D0A6DFD01F}" srcOrd="0" destOrd="0" presId="urn:microsoft.com/office/officeart/2005/8/layout/venn2"/>
    <dgm:cxn modelId="{E125714B-6455-4E2A-91A2-270EC0CC5118}" type="presParOf" srcId="{2D43A579-99E6-48B7-B94D-176B78D08518}" destId="{25F4E37B-2C2C-4FE3-9383-F82D89A5B97F}" srcOrd="1" destOrd="0" presId="urn:microsoft.com/office/officeart/2005/8/layout/venn2"/>
    <dgm:cxn modelId="{2F48E2E6-BE44-4715-B792-E7739DA93B14}" type="presParOf" srcId="{18C5AE46-A206-41EE-969F-01FEC4D4B832}" destId="{0DF251DC-829D-4504-9548-94C8DB61847D}" srcOrd="1" destOrd="0" presId="urn:microsoft.com/office/officeart/2005/8/layout/venn2"/>
    <dgm:cxn modelId="{FCD6377A-5DDC-4412-B381-43AAE3718546}" type="presParOf" srcId="{0DF251DC-829D-4504-9548-94C8DB61847D}" destId="{F348CCE5-0D2E-418D-A05C-7D7AA27B0DA4}" srcOrd="0" destOrd="0" presId="urn:microsoft.com/office/officeart/2005/8/layout/venn2"/>
    <dgm:cxn modelId="{CD7D9BD1-C247-4F49-A28F-750160EB7D5B}" type="presParOf" srcId="{0DF251DC-829D-4504-9548-94C8DB61847D}" destId="{4994DA81-868E-4932-83A5-08B24EAE98D2}" srcOrd="1" destOrd="0" presId="urn:microsoft.com/office/officeart/2005/8/layout/venn2"/>
    <dgm:cxn modelId="{063E6A3A-D860-4549-AA71-1A61A4CB5680}" type="presParOf" srcId="{18C5AE46-A206-41EE-969F-01FEC4D4B832}" destId="{BAFB2184-FFDE-449D-9DB5-DB9C6D737B12}" srcOrd="2" destOrd="0" presId="urn:microsoft.com/office/officeart/2005/8/layout/venn2"/>
    <dgm:cxn modelId="{11426450-2D51-46C7-8D69-738AB14A3272}" type="presParOf" srcId="{BAFB2184-FFDE-449D-9DB5-DB9C6D737B12}" destId="{3F575DEC-5534-49F8-864F-3DCBE6C27B77}" srcOrd="0" destOrd="0" presId="urn:microsoft.com/office/officeart/2005/8/layout/venn2"/>
    <dgm:cxn modelId="{5134B61D-DB2A-48F6-895A-9A90D1B520D7}" type="presParOf" srcId="{BAFB2184-FFDE-449D-9DB5-DB9C6D737B12}" destId="{0B1CC397-FDF7-4303-AF83-373B0F5B45B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5C68B5-B0DB-4163-9231-30D0A6DFD01F}">
      <dsp:nvSpPr>
        <dsp:cNvPr id="0" name=""/>
        <dsp:cNvSpPr/>
      </dsp:nvSpPr>
      <dsp:spPr>
        <a:xfrm>
          <a:off x="2528921" y="0"/>
          <a:ext cx="7607504" cy="76075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 err="1"/>
            <a:t>Artificial</a:t>
          </a:r>
          <a:r>
            <a:rPr lang="de-DE" sz="2400" b="1" kern="1200" dirty="0"/>
            <a:t> </a:t>
          </a:r>
          <a:r>
            <a:rPr lang="de-DE" sz="2400" b="1" kern="1200" dirty="0" err="1"/>
            <a:t>Intelligence</a:t>
          </a:r>
          <a:r>
            <a:rPr lang="de-DE" sz="2400" b="1" kern="1200" dirty="0"/>
            <a:t> (AI)</a:t>
          </a:r>
          <a:endParaRPr lang="de-DE" sz="2800" b="1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A </a:t>
          </a:r>
          <a:r>
            <a:rPr lang="de-DE" sz="1600" kern="1200" dirty="0" err="1"/>
            <a:t>program</a:t>
          </a:r>
          <a:r>
            <a:rPr lang="de-DE" sz="1600" kern="1200" dirty="0"/>
            <a:t> </a:t>
          </a:r>
          <a:r>
            <a:rPr lang="de-DE" sz="1600" kern="1200" dirty="0" err="1"/>
            <a:t>that</a:t>
          </a:r>
          <a:r>
            <a:rPr lang="de-DE" sz="1600" kern="1200" dirty="0"/>
            <a:t> </a:t>
          </a:r>
          <a:r>
            <a:rPr lang="de-DE" sz="1600" kern="1200" dirty="0" err="1"/>
            <a:t>can</a:t>
          </a:r>
          <a:r>
            <a:rPr lang="de-DE" sz="1600" kern="1200" dirty="0"/>
            <a:t> sense, </a:t>
          </a:r>
          <a:r>
            <a:rPr lang="de-DE" sz="1600" kern="1200" dirty="0" err="1"/>
            <a:t>reason</a:t>
          </a:r>
          <a:r>
            <a:rPr lang="de-DE" sz="1600" kern="1200" dirty="0"/>
            <a:t>, </a:t>
          </a:r>
          <a:r>
            <a:rPr lang="de-DE" sz="1600" kern="1200" dirty="0" err="1"/>
            <a:t>act</a:t>
          </a:r>
          <a:r>
            <a:rPr lang="de-DE" sz="1600" kern="1200" dirty="0"/>
            <a:t> and </a:t>
          </a:r>
          <a:r>
            <a:rPr lang="de-DE" sz="1600" kern="1200" dirty="0" err="1"/>
            <a:t>adapt</a:t>
          </a:r>
          <a:endParaRPr lang="de-DE" sz="1600" kern="1200" dirty="0"/>
        </a:p>
      </dsp:txBody>
      <dsp:txXfrm>
        <a:off x="5003262" y="380375"/>
        <a:ext cx="2658822" cy="1141125"/>
      </dsp:txXfrm>
    </dsp:sp>
    <dsp:sp modelId="{F348CCE5-0D2E-418D-A05C-7D7AA27B0DA4}">
      <dsp:nvSpPr>
        <dsp:cNvPr id="0" name=""/>
        <dsp:cNvSpPr/>
      </dsp:nvSpPr>
      <dsp:spPr>
        <a:xfrm>
          <a:off x="3479859" y="1901875"/>
          <a:ext cx="5705628" cy="5705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 err="1"/>
            <a:t>Machine</a:t>
          </a:r>
          <a:r>
            <a:rPr lang="de-DE" sz="2400" b="1" kern="1200" dirty="0"/>
            <a:t> Learning (ML)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 err="1"/>
            <a:t>Algorithms</a:t>
          </a:r>
          <a:r>
            <a:rPr lang="de-DE" sz="1600" b="0" kern="1200" dirty="0"/>
            <a:t> </a:t>
          </a:r>
          <a:r>
            <a:rPr lang="de-DE" sz="1600" b="0" kern="1200" dirty="0" err="1"/>
            <a:t>whose</a:t>
          </a:r>
          <a:r>
            <a:rPr lang="de-DE" sz="1600" b="0" kern="1200" dirty="0"/>
            <a:t> </a:t>
          </a:r>
          <a:r>
            <a:rPr lang="de-DE" sz="1600" b="0" kern="1200" dirty="0" err="1"/>
            <a:t>performance</a:t>
          </a:r>
          <a:r>
            <a:rPr lang="de-DE" sz="1600" b="0" kern="1200" dirty="0"/>
            <a:t> </a:t>
          </a:r>
          <a:r>
            <a:rPr lang="de-DE" sz="1600" b="0" kern="1200" dirty="0" err="1"/>
            <a:t>improve</a:t>
          </a:r>
          <a:r>
            <a:rPr lang="de-DE" sz="1600" b="0" kern="1200" dirty="0"/>
            <a:t> </a:t>
          </a:r>
          <a:r>
            <a:rPr lang="de-DE" sz="1600" b="0" kern="1200" dirty="0" err="1"/>
            <a:t>as</a:t>
          </a:r>
          <a:r>
            <a:rPr lang="de-DE" sz="1600" b="0" kern="1200" dirty="0"/>
            <a:t> </a:t>
          </a:r>
          <a:r>
            <a:rPr lang="de-DE" sz="1600" b="0" kern="1200" dirty="0" err="1"/>
            <a:t>they</a:t>
          </a:r>
          <a:r>
            <a:rPr lang="de-DE" sz="1600" b="0" kern="1200" dirty="0"/>
            <a:t> </a:t>
          </a:r>
          <a:r>
            <a:rPr lang="de-DE" sz="1600" b="0" kern="1200" dirty="0" err="1"/>
            <a:t>are</a:t>
          </a:r>
          <a:r>
            <a:rPr lang="de-DE" sz="1600" b="0" kern="1200" dirty="0"/>
            <a:t> </a:t>
          </a:r>
          <a:r>
            <a:rPr lang="de-DE" sz="1600" b="0" kern="1200" dirty="0" err="1"/>
            <a:t>exposed</a:t>
          </a:r>
          <a:r>
            <a:rPr lang="de-DE" sz="1600" b="0" kern="1200" dirty="0"/>
            <a:t> </a:t>
          </a:r>
          <a:r>
            <a:rPr lang="de-DE" sz="1600" b="0" kern="1200" dirty="0" err="1"/>
            <a:t>to</a:t>
          </a:r>
          <a:r>
            <a:rPr lang="de-DE" sz="1600" b="0" kern="1200" dirty="0"/>
            <a:t> </a:t>
          </a:r>
          <a:r>
            <a:rPr lang="de-DE" sz="1600" b="0" kern="1200" dirty="0" err="1"/>
            <a:t>more</a:t>
          </a:r>
          <a:r>
            <a:rPr lang="de-DE" sz="1600" b="0" kern="1200" dirty="0"/>
            <a:t> </a:t>
          </a:r>
          <a:r>
            <a:rPr lang="de-DE" sz="1600" b="0" kern="1200" dirty="0" err="1"/>
            <a:t>data</a:t>
          </a:r>
          <a:r>
            <a:rPr lang="de-DE" sz="1600" b="0" kern="1200" dirty="0"/>
            <a:t> </a:t>
          </a:r>
          <a:r>
            <a:rPr lang="de-DE" sz="1600" b="0" kern="1200" dirty="0" err="1"/>
            <a:t>over</a:t>
          </a:r>
          <a:r>
            <a:rPr lang="de-DE" sz="1600" b="0" kern="1200" dirty="0"/>
            <a:t> time </a:t>
          </a:r>
        </a:p>
      </dsp:txBody>
      <dsp:txXfrm>
        <a:off x="5003262" y="2258477"/>
        <a:ext cx="2658822" cy="1069805"/>
      </dsp:txXfrm>
    </dsp:sp>
    <dsp:sp modelId="{3F575DEC-5534-49F8-864F-3DCBE6C27B77}">
      <dsp:nvSpPr>
        <dsp:cNvPr id="0" name=""/>
        <dsp:cNvSpPr/>
      </dsp:nvSpPr>
      <dsp:spPr>
        <a:xfrm>
          <a:off x="4430797" y="3803752"/>
          <a:ext cx="3803752" cy="380375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/>
            <a:t>Deep Learning (DL)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Subset</a:t>
          </a:r>
          <a:r>
            <a:rPr lang="de-DE" sz="1600" kern="1200" dirty="0"/>
            <a:t> </a:t>
          </a:r>
          <a:r>
            <a:rPr lang="de-DE" sz="1600" kern="1200" dirty="0" err="1"/>
            <a:t>of</a:t>
          </a:r>
          <a:r>
            <a:rPr lang="de-DE" sz="1600" kern="1200" dirty="0"/>
            <a:t> ML in </a:t>
          </a:r>
          <a:r>
            <a:rPr lang="de-DE" sz="1600" kern="1200" dirty="0" err="1"/>
            <a:t>which</a:t>
          </a:r>
          <a:r>
            <a:rPr lang="de-DE" sz="1600" kern="1200" dirty="0"/>
            <a:t> </a:t>
          </a:r>
          <a:r>
            <a:rPr lang="de-DE" sz="1600" kern="1200" dirty="0" err="1"/>
            <a:t>multilayered</a:t>
          </a:r>
          <a:r>
            <a:rPr lang="de-DE" sz="1600" kern="1200" dirty="0"/>
            <a:t> </a:t>
          </a:r>
          <a:r>
            <a:rPr lang="de-DE" sz="1600" kern="1200" dirty="0" err="1"/>
            <a:t>neural</a:t>
          </a:r>
          <a:r>
            <a:rPr lang="de-DE" sz="1600" kern="1200" dirty="0"/>
            <a:t> </a:t>
          </a:r>
          <a:r>
            <a:rPr lang="de-DE" sz="1600" kern="1200" dirty="0" err="1"/>
            <a:t>networks</a:t>
          </a:r>
          <a:r>
            <a:rPr lang="de-DE" sz="1600" kern="1200" dirty="0"/>
            <a:t> </a:t>
          </a:r>
          <a:r>
            <a:rPr lang="de-DE" sz="1600" kern="1200" dirty="0" err="1"/>
            <a:t>learn</a:t>
          </a:r>
          <a:r>
            <a:rPr lang="de-DE" sz="1600" kern="1200" dirty="0"/>
            <a:t> </a:t>
          </a:r>
          <a:r>
            <a:rPr lang="de-DE" sz="1600" kern="1200" dirty="0" err="1"/>
            <a:t>from</a:t>
          </a:r>
          <a:r>
            <a:rPr lang="de-DE" sz="1600" kern="1200" dirty="0"/>
            <a:t> </a:t>
          </a:r>
          <a:r>
            <a:rPr lang="de-DE" sz="1600" kern="1200" dirty="0" err="1"/>
            <a:t>vast</a:t>
          </a:r>
          <a:r>
            <a:rPr lang="de-DE" sz="1600" kern="1200" dirty="0"/>
            <a:t> </a:t>
          </a:r>
          <a:r>
            <a:rPr lang="de-DE" sz="1600" kern="1200" dirty="0" err="1"/>
            <a:t>amounts</a:t>
          </a:r>
          <a:r>
            <a:rPr lang="de-DE" sz="1600" kern="1200" dirty="0"/>
            <a:t> </a:t>
          </a:r>
          <a:r>
            <a:rPr lang="de-DE" sz="1600" kern="1200" dirty="0" err="1"/>
            <a:t>of</a:t>
          </a:r>
          <a:r>
            <a:rPr lang="de-DE" sz="1600" kern="1200" dirty="0"/>
            <a:t> </a:t>
          </a:r>
          <a:r>
            <a:rPr lang="de-DE" sz="1600" kern="1200" dirty="0" err="1"/>
            <a:t>data</a:t>
          </a:r>
          <a:endParaRPr lang="de-DE" sz="1600" kern="1200" dirty="0"/>
        </a:p>
      </dsp:txBody>
      <dsp:txXfrm>
        <a:off x="4987844" y="4754690"/>
        <a:ext cx="2689658" cy="19018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de-DE" dirty="0">
              <a:latin typeface="Univers LT Std 45 Light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1698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B6ECA02F-F776-41B3-A341-6BE9AA2D50A9}" type="datetimeFigureOut">
              <a:rPr lang="de-DE" smtClean="0">
                <a:latin typeface="Univers LT Std 45 Light" pitchFamily="34" charset="0"/>
              </a:rPr>
              <a:t>16.11.2018</a:t>
            </a:fld>
            <a:endParaRPr lang="de-DE" dirty="0">
              <a:latin typeface="Univers LT Std 45 Light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de-DE" dirty="0">
              <a:latin typeface="Univers LT Std 45 Light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1698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7F6FEA0A-3A64-4796-8F00-1E4DB27F32C6}" type="slidenum">
              <a:rPr lang="de-DE" smtClean="0">
                <a:latin typeface="Univers LT Std 45 Light" pitchFamily="34" charset="0"/>
              </a:rPr>
              <a:t>‹Nr.›</a:t>
            </a:fld>
            <a:endParaRPr lang="de-DE" dirty="0">
              <a:latin typeface="Univers LT Std 4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7259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>
                <a:latin typeface="Univers LT Std 45 Light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>
                <a:latin typeface="Univers LT Std 45 Light" pitchFamily="34" charset="0"/>
              </a:defRPr>
            </a:lvl1pPr>
          </a:lstStyle>
          <a:p>
            <a:fld id="{3D03D3FC-D14C-44A7-B92F-2237A2F39B06}" type="datetimeFigureOut">
              <a:rPr lang="de-DE" smtClean="0"/>
              <a:pPr/>
              <a:t>16.11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817" y="4759643"/>
            <a:ext cx="5510530" cy="4509135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>
                <a:latin typeface="Univers LT Std 45 Light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1698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>
                <a:latin typeface="Univers LT Std 45 Light" pitchFamily="34" charset="0"/>
              </a:defRPr>
            </a:lvl1pPr>
          </a:lstStyle>
          <a:p>
            <a:fld id="{939DB0D5-BE9F-4295-9B1F-A19DC5E356E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7700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5280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596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4931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41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uppieren 62"/>
          <p:cNvGrpSpPr>
            <a:grpSpLocks noChangeAspect="1"/>
          </p:cNvGrpSpPr>
          <p:nvPr/>
        </p:nvGrpSpPr>
        <p:grpSpPr>
          <a:xfrm>
            <a:off x="493711" y="529402"/>
            <a:ext cx="3312000" cy="733186"/>
            <a:chOff x="4821238" y="739775"/>
            <a:chExt cx="7264401" cy="1608138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504238" y="739775"/>
              <a:ext cx="1123950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9729788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3" name="Freeform 8"/>
            <p:cNvSpPr>
              <a:spLocks/>
            </p:cNvSpPr>
            <p:nvPr userDrawn="1"/>
          </p:nvSpPr>
          <p:spPr bwMode="auto">
            <a:xfrm>
              <a:off x="10960101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4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4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9"/>
            <p:cNvSpPr>
              <a:spLocks/>
            </p:cNvSpPr>
            <p:nvPr userDrawn="1"/>
          </p:nvSpPr>
          <p:spPr bwMode="auto">
            <a:xfrm>
              <a:off x="7277101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" name="Freeform 10"/>
            <p:cNvSpPr>
              <a:spLocks/>
            </p:cNvSpPr>
            <p:nvPr userDrawn="1"/>
          </p:nvSpPr>
          <p:spPr bwMode="auto">
            <a:xfrm>
              <a:off x="7431088" y="1054100"/>
              <a:ext cx="817563" cy="509588"/>
            </a:xfrm>
            <a:custGeom>
              <a:avLst/>
              <a:gdLst>
                <a:gd name="T0" fmla="*/ 515 w 515"/>
                <a:gd name="T1" fmla="*/ 0 h 321"/>
                <a:gd name="T2" fmla="*/ 385 w 515"/>
                <a:gd name="T3" fmla="*/ 321 h 321"/>
                <a:gd name="T4" fmla="*/ 321 w 515"/>
                <a:gd name="T5" fmla="*/ 321 h 321"/>
                <a:gd name="T6" fmla="*/ 258 w 515"/>
                <a:gd name="T7" fmla="*/ 130 h 321"/>
                <a:gd name="T8" fmla="*/ 191 w 515"/>
                <a:gd name="T9" fmla="*/ 321 h 321"/>
                <a:gd name="T10" fmla="*/ 128 w 515"/>
                <a:gd name="T11" fmla="*/ 321 h 321"/>
                <a:gd name="T12" fmla="*/ 0 w 515"/>
                <a:gd name="T13" fmla="*/ 0 h 321"/>
                <a:gd name="T14" fmla="*/ 73 w 515"/>
                <a:gd name="T15" fmla="*/ 0 h 321"/>
                <a:gd name="T16" fmla="*/ 161 w 515"/>
                <a:gd name="T17" fmla="*/ 234 h 321"/>
                <a:gd name="T18" fmla="*/ 234 w 515"/>
                <a:gd name="T19" fmla="*/ 0 h 321"/>
                <a:gd name="T20" fmla="*/ 281 w 515"/>
                <a:gd name="T21" fmla="*/ 0 h 321"/>
                <a:gd name="T22" fmla="*/ 354 w 515"/>
                <a:gd name="T23" fmla="*/ 234 h 321"/>
                <a:gd name="T24" fmla="*/ 442 w 515"/>
                <a:gd name="T25" fmla="*/ 0 h 321"/>
                <a:gd name="T26" fmla="*/ 515 w 515"/>
                <a:gd name="T2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5" h="321">
                  <a:moveTo>
                    <a:pt x="515" y="0"/>
                  </a:moveTo>
                  <a:lnTo>
                    <a:pt x="385" y="321"/>
                  </a:lnTo>
                  <a:lnTo>
                    <a:pt x="321" y="321"/>
                  </a:lnTo>
                  <a:lnTo>
                    <a:pt x="258" y="130"/>
                  </a:lnTo>
                  <a:lnTo>
                    <a:pt x="191" y="321"/>
                  </a:lnTo>
                  <a:lnTo>
                    <a:pt x="128" y="321"/>
                  </a:lnTo>
                  <a:lnTo>
                    <a:pt x="0" y="0"/>
                  </a:lnTo>
                  <a:lnTo>
                    <a:pt x="73" y="0"/>
                  </a:lnTo>
                  <a:lnTo>
                    <a:pt x="161" y="234"/>
                  </a:lnTo>
                  <a:lnTo>
                    <a:pt x="234" y="0"/>
                  </a:lnTo>
                  <a:lnTo>
                    <a:pt x="281" y="0"/>
                  </a:lnTo>
                  <a:lnTo>
                    <a:pt x="354" y="234"/>
                  </a:lnTo>
                  <a:lnTo>
                    <a:pt x="442" y="0"/>
                  </a:lnTo>
                  <a:lnTo>
                    <a:pt x="5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" name="Freeform 11"/>
            <p:cNvSpPr>
              <a:spLocks noEditPoints="1"/>
            </p:cNvSpPr>
            <p:nvPr userDrawn="1"/>
          </p:nvSpPr>
          <p:spPr bwMode="auto">
            <a:xfrm>
              <a:off x="8810626" y="1054100"/>
              <a:ext cx="511175" cy="509588"/>
            </a:xfrm>
            <a:custGeom>
              <a:avLst/>
              <a:gdLst>
                <a:gd name="T0" fmla="*/ 136 w 136"/>
                <a:gd name="T1" fmla="*/ 136 h 136"/>
                <a:gd name="T2" fmla="*/ 109 w 136"/>
                <a:gd name="T3" fmla="*/ 136 h 136"/>
                <a:gd name="T4" fmla="*/ 109 w 136"/>
                <a:gd name="T5" fmla="*/ 82 h 136"/>
                <a:gd name="T6" fmla="*/ 27 w 136"/>
                <a:gd name="T7" fmla="*/ 82 h 136"/>
                <a:gd name="T8" fmla="*/ 27 w 136"/>
                <a:gd name="T9" fmla="*/ 136 h 136"/>
                <a:gd name="T10" fmla="*/ 0 w 136"/>
                <a:gd name="T11" fmla="*/ 136 h 136"/>
                <a:gd name="T12" fmla="*/ 0 w 136"/>
                <a:gd name="T13" fmla="*/ 27 h 136"/>
                <a:gd name="T14" fmla="*/ 7 w 136"/>
                <a:gd name="T15" fmla="*/ 8 h 136"/>
                <a:gd name="T16" fmla="*/ 27 w 136"/>
                <a:gd name="T17" fmla="*/ 0 h 136"/>
                <a:gd name="T18" fmla="*/ 109 w 136"/>
                <a:gd name="T19" fmla="*/ 0 h 136"/>
                <a:gd name="T20" fmla="*/ 128 w 136"/>
                <a:gd name="T21" fmla="*/ 9 h 136"/>
                <a:gd name="T22" fmla="*/ 136 w 136"/>
                <a:gd name="T23" fmla="*/ 27 h 136"/>
                <a:gd name="T24" fmla="*/ 136 w 136"/>
                <a:gd name="T25" fmla="*/ 136 h 136"/>
                <a:gd name="T26" fmla="*/ 109 w 136"/>
                <a:gd name="T27" fmla="*/ 54 h 136"/>
                <a:gd name="T28" fmla="*/ 109 w 136"/>
                <a:gd name="T29" fmla="*/ 27 h 136"/>
                <a:gd name="T30" fmla="*/ 27 w 136"/>
                <a:gd name="T31" fmla="*/ 27 h 136"/>
                <a:gd name="T32" fmla="*/ 27 w 136"/>
                <a:gd name="T33" fmla="*/ 54 h 136"/>
                <a:gd name="T34" fmla="*/ 109 w 136"/>
                <a:gd name="T35" fmla="*/ 5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109" y="136"/>
                    <a:pt x="109" y="136"/>
                    <a:pt x="109" y="136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2" y="13"/>
                    <a:pt x="7" y="8"/>
                  </a:cubicBezTo>
                  <a:cubicBezTo>
                    <a:pt x="12" y="2"/>
                    <a:pt x="19" y="0"/>
                    <a:pt x="27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6" y="0"/>
                    <a:pt x="122" y="3"/>
                    <a:pt x="128" y="9"/>
                  </a:cubicBezTo>
                  <a:cubicBezTo>
                    <a:pt x="133" y="14"/>
                    <a:pt x="136" y="21"/>
                    <a:pt x="136" y="27"/>
                  </a:cubicBezTo>
                  <a:lnTo>
                    <a:pt x="136" y="136"/>
                  </a:lnTo>
                  <a:close/>
                  <a:moveTo>
                    <a:pt x="109" y="54"/>
                  </a:moveTo>
                  <a:cubicBezTo>
                    <a:pt x="109" y="27"/>
                    <a:pt x="109" y="27"/>
                    <a:pt x="109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54"/>
                    <a:pt x="27" y="54"/>
                    <a:pt x="27" y="54"/>
                  </a:cubicBezTo>
                  <a:lnTo>
                    <a:pt x="109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Freeform 12"/>
            <p:cNvSpPr>
              <a:spLocks noEditPoints="1"/>
            </p:cNvSpPr>
            <p:nvPr userDrawn="1"/>
          </p:nvSpPr>
          <p:spPr bwMode="auto">
            <a:xfrm>
              <a:off x="10040938" y="1054100"/>
              <a:ext cx="509588" cy="509588"/>
            </a:xfrm>
            <a:custGeom>
              <a:avLst/>
              <a:gdLst>
                <a:gd name="T0" fmla="*/ 136 w 136"/>
                <a:gd name="T1" fmla="*/ 136 h 136"/>
                <a:gd name="T2" fmla="*/ 95 w 136"/>
                <a:gd name="T3" fmla="*/ 136 h 136"/>
                <a:gd name="T4" fmla="*/ 31 w 136"/>
                <a:gd name="T5" fmla="*/ 82 h 136"/>
                <a:gd name="T6" fmla="*/ 27 w 136"/>
                <a:gd name="T7" fmla="*/ 82 h 136"/>
                <a:gd name="T8" fmla="*/ 27 w 136"/>
                <a:gd name="T9" fmla="*/ 136 h 136"/>
                <a:gd name="T10" fmla="*/ 0 w 136"/>
                <a:gd name="T11" fmla="*/ 136 h 136"/>
                <a:gd name="T12" fmla="*/ 0 w 136"/>
                <a:gd name="T13" fmla="*/ 0 h 136"/>
                <a:gd name="T14" fmla="*/ 104 w 136"/>
                <a:gd name="T15" fmla="*/ 0 h 136"/>
                <a:gd name="T16" fmla="*/ 123 w 136"/>
                <a:gd name="T17" fmla="*/ 8 h 136"/>
                <a:gd name="T18" fmla="*/ 131 w 136"/>
                <a:gd name="T19" fmla="*/ 27 h 136"/>
                <a:gd name="T20" fmla="*/ 131 w 136"/>
                <a:gd name="T21" fmla="*/ 54 h 136"/>
                <a:gd name="T22" fmla="*/ 104 w 136"/>
                <a:gd name="T23" fmla="*/ 82 h 136"/>
                <a:gd name="T24" fmla="*/ 71 w 136"/>
                <a:gd name="T25" fmla="*/ 82 h 136"/>
                <a:gd name="T26" fmla="*/ 136 w 136"/>
                <a:gd name="T27" fmla="*/ 136 h 136"/>
                <a:gd name="T28" fmla="*/ 104 w 136"/>
                <a:gd name="T29" fmla="*/ 54 h 136"/>
                <a:gd name="T30" fmla="*/ 104 w 136"/>
                <a:gd name="T31" fmla="*/ 27 h 136"/>
                <a:gd name="T32" fmla="*/ 27 w 136"/>
                <a:gd name="T33" fmla="*/ 27 h 136"/>
                <a:gd name="T34" fmla="*/ 27 w 136"/>
                <a:gd name="T35" fmla="*/ 54 h 136"/>
                <a:gd name="T36" fmla="*/ 104 w 136"/>
                <a:gd name="T37" fmla="*/ 5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95" y="136"/>
                    <a:pt x="95" y="136"/>
                    <a:pt x="95" y="136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2" y="0"/>
                    <a:pt x="118" y="2"/>
                    <a:pt x="123" y="8"/>
                  </a:cubicBezTo>
                  <a:cubicBezTo>
                    <a:pt x="129" y="13"/>
                    <a:pt x="131" y="20"/>
                    <a:pt x="131" y="27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131" y="72"/>
                    <a:pt x="122" y="82"/>
                    <a:pt x="104" y="82"/>
                  </a:cubicBezTo>
                  <a:cubicBezTo>
                    <a:pt x="71" y="82"/>
                    <a:pt x="71" y="82"/>
                    <a:pt x="71" y="82"/>
                  </a:cubicBezTo>
                  <a:lnTo>
                    <a:pt x="136" y="136"/>
                  </a:lnTo>
                  <a:close/>
                  <a:moveTo>
                    <a:pt x="104" y="5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54"/>
                    <a:pt x="27" y="54"/>
                    <a:pt x="27" y="54"/>
                  </a:cubicBezTo>
                  <a:lnTo>
                    <a:pt x="10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13"/>
            <p:cNvSpPr>
              <a:spLocks/>
            </p:cNvSpPr>
            <p:nvPr userDrawn="1"/>
          </p:nvSpPr>
          <p:spPr bwMode="auto">
            <a:xfrm>
              <a:off x="11315701" y="1054100"/>
              <a:ext cx="409575" cy="509588"/>
            </a:xfrm>
            <a:custGeom>
              <a:avLst/>
              <a:gdLst>
                <a:gd name="T0" fmla="*/ 258 w 258"/>
                <a:gd name="T1" fmla="*/ 321 h 321"/>
                <a:gd name="T2" fmla="*/ 0 w 258"/>
                <a:gd name="T3" fmla="*/ 321 h 321"/>
                <a:gd name="T4" fmla="*/ 0 w 258"/>
                <a:gd name="T5" fmla="*/ 0 h 321"/>
                <a:gd name="T6" fmla="*/ 258 w 258"/>
                <a:gd name="T7" fmla="*/ 0 h 321"/>
                <a:gd name="T8" fmla="*/ 258 w 258"/>
                <a:gd name="T9" fmla="*/ 64 h 321"/>
                <a:gd name="T10" fmla="*/ 64 w 258"/>
                <a:gd name="T11" fmla="*/ 64 h 321"/>
                <a:gd name="T12" fmla="*/ 64 w 258"/>
                <a:gd name="T13" fmla="*/ 128 h 321"/>
                <a:gd name="T14" fmla="*/ 258 w 258"/>
                <a:gd name="T15" fmla="*/ 128 h 321"/>
                <a:gd name="T16" fmla="*/ 258 w 258"/>
                <a:gd name="T17" fmla="*/ 194 h 321"/>
                <a:gd name="T18" fmla="*/ 64 w 258"/>
                <a:gd name="T19" fmla="*/ 194 h 321"/>
                <a:gd name="T20" fmla="*/ 64 w 258"/>
                <a:gd name="T21" fmla="*/ 258 h 321"/>
                <a:gd name="T22" fmla="*/ 258 w 258"/>
                <a:gd name="T23" fmla="*/ 258 h 321"/>
                <a:gd name="T24" fmla="*/ 258 w 258"/>
                <a:gd name="T2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" h="321">
                  <a:moveTo>
                    <a:pt x="258" y="321"/>
                  </a:moveTo>
                  <a:lnTo>
                    <a:pt x="0" y="321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64"/>
                  </a:lnTo>
                  <a:lnTo>
                    <a:pt x="64" y="64"/>
                  </a:lnTo>
                  <a:lnTo>
                    <a:pt x="64" y="128"/>
                  </a:lnTo>
                  <a:lnTo>
                    <a:pt x="258" y="128"/>
                  </a:lnTo>
                  <a:lnTo>
                    <a:pt x="258" y="194"/>
                  </a:lnTo>
                  <a:lnTo>
                    <a:pt x="64" y="194"/>
                  </a:lnTo>
                  <a:lnTo>
                    <a:pt x="64" y="258"/>
                  </a:lnTo>
                  <a:lnTo>
                    <a:pt x="258" y="258"/>
                  </a:lnTo>
                  <a:lnTo>
                    <a:pt x="258" y="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6051551" y="739775"/>
              <a:ext cx="1123950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4821238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6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6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" name="Freeform 16"/>
            <p:cNvSpPr>
              <a:spLocks noEditPoints="1"/>
            </p:cNvSpPr>
            <p:nvPr userDrawn="1"/>
          </p:nvSpPr>
          <p:spPr bwMode="auto">
            <a:xfrm>
              <a:off x="6359526" y="1054100"/>
              <a:ext cx="509588" cy="509588"/>
            </a:xfrm>
            <a:custGeom>
              <a:avLst/>
              <a:gdLst>
                <a:gd name="T0" fmla="*/ 136 w 136"/>
                <a:gd name="T1" fmla="*/ 136 h 136"/>
                <a:gd name="T2" fmla="*/ 109 w 136"/>
                <a:gd name="T3" fmla="*/ 136 h 136"/>
                <a:gd name="T4" fmla="*/ 109 w 136"/>
                <a:gd name="T5" fmla="*/ 82 h 136"/>
                <a:gd name="T6" fmla="*/ 27 w 136"/>
                <a:gd name="T7" fmla="*/ 82 h 136"/>
                <a:gd name="T8" fmla="*/ 27 w 136"/>
                <a:gd name="T9" fmla="*/ 136 h 136"/>
                <a:gd name="T10" fmla="*/ 0 w 136"/>
                <a:gd name="T11" fmla="*/ 136 h 136"/>
                <a:gd name="T12" fmla="*/ 0 w 136"/>
                <a:gd name="T13" fmla="*/ 27 h 136"/>
                <a:gd name="T14" fmla="*/ 7 w 136"/>
                <a:gd name="T15" fmla="*/ 8 h 136"/>
                <a:gd name="T16" fmla="*/ 27 w 136"/>
                <a:gd name="T17" fmla="*/ 0 h 136"/>
                <a:gd name="T18" fmla="*/ 109 w 136"/>
                <a:gd name="T19" fmla="*/ 0 h 136"/>
                <a:gd name="T20" fmla="*/ 127 w 136"/>
                <a:gd name="T21" fmla="*/ 9 h 136"/>
                <a:gd name="T22" fmla="*/ 136 w 136"/>
                <a:gd name="T23" fmla="*/ 27 h 136"/>
                <a:gd name="T24" fmla="*/ 136 w 136"/>
                <a:gd name="T25" fmla="*/ 136 h 136"/>
                <a:gd name="T26" fmla="*/ 109 w 136"/>
                <a:gd name="T27" fmla="*/ 54 h 136"/>
                <a:gd name="T28" fmla="*/ 109 w 136"/>
                <a:gd name="T29" fmla="*/ 27 h 136"/>
                <a:gd name="T30" fmla="*/ 27 w 136"/>
                <a:gd name="T31" fmla="*/ 27 h 136"/>
                <a:gd name="T32" fmla="*/ 27 w 136"/>
                <a:gd name="T33" fmla="*/ 54 h 136"/>
                <a:gd name="T34" fmla="*/ 109 w 136"/>
                <a:gd name="T35" fmla="*/ 5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109" y="136"/>
                    <a:pt x="109" y="136"/>
                    <a:pt x="109" y="136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2" y="13"/>
                    <a:pt x="7" y="8"/>
                  </a:cubicBezTo>
                  <a:cubicBezTo>
                    <a:pt x="12" y="2"/>
                    <a:pt x="19" y="0"/>
                    <a:pt x="27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5" y="0"/>
                    <a:pt x="121" y="3"/>
                    <a:pt x="127" y="9"/>
                  </a:cubicBezTo>
                  <a:cubicBezTo>
                    <a:pt x="133" y="15"/>
                    <a:pt x="136" y="21"/>
                    <a:pt x="136" y="27"/>
                  </a:cubicBezTo>
                  <a:lnTo>
                    <a:pt x="136" y="136"/>
                  </a:lnTo>
                  <a:close/>
                  <a:moveTo>
                    <a:pt x="109" y="54"/>
                  </a:moveTo>
                  <a:cubicBezTo>
                    <a:pt x="109" y="27"/>
                    <a:pt x="109" y="27"/>
                    <a:pt x="109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54"/>
                    <a:pt x="27" y="54"/>
                    <a:pt x="27" y="54"/>
                  </a:cubicBezTo>
                  <a:lnTo>
                    <a:pt x="109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17"/>
            <p:cNvSpPr>
              <a:spLocks noEditPoints="1"/>
            </p:cNvSpPr>
            <p:nvPr userDrawn="1"/>
          </p:nvSpPr>
          <p:spPr bwMode="auto">
            <a:xfrm>
              <a:off x="5124451" y="1047750"/>
              <a:ext cx="528638" cy="622300"/>
            </a:xfrm>
            <a:custGeom>
              <a:avLst/>
              <a:gdLst>
                <a:gd name="T0" fmla="*/ 141 w 141"/>
                <a:gd name="T1" fmla="*/ 70 h 166"/>
                <a:gd name="T2" fmla="*/ 125 w 141"/>
                <a:gd name="T3" fmla="*/ 115 h 166"/>
                <a:gd name="T4" fmla="*/ 84 w 141"/>
                <a:gd name="T5" fmla="*/ 139 h 166"/>
                <a:gd name="T6" fmla="*/ 84 w 141"/>
                <a:gd name="T7" fmla="*/ 166 h 166"/>
                <a:gd name="T8" fmla="*/ 56 w 141"/>
                <a:gd name="T9" fmla="*/ 166 h 166"/>
                <a:gd name="T10" fmla="*/ 56 w 141"/>
                <a:gd name="T11" fmla="*/ 139 h 166"/>
                <a:gd name="T12" fmla="*/ 16 w 141"/>
                <a:gd name="T13" fmla="*/ 115 h 166"/>
                <a:gd name="T14" fmla="*/ 0 w 141"/>
                <a:gd name="T15" fmla="*/ 70 h 166"/>
                <a:gd name="T16" fmla="*/ 20 w 141"/>
                <a:gd name="T17" fmla="*/ 20 h 166"/>
                <a:gd name="T18" fmla="*/ 70 w 141"/>
                <a:gd name="T19" fmla="*/ 0 h 166"/>
                <a:gd name="T20" fmla="*/ 120 w 141"/>
                <a:gd name="T21" fmla="*/ 20 h 166"/>
                <a:gd name="T22" fmla="*/ 141 w 141"/>
                <a:gd name="T23" fmla="*/ 70 h 166"/>
                <a:gd name="T24" fmla="*/ 113 w 141"/>
                <a:gd name="T25" fmla="*/ 70 h 166"/>
                <a:gd name="T26" fmla="*/ 101 w 141"/>
                <a:gd name="T27" fmla="*/ 40 h 166"/>
                <a:gd name="T28" fmla="*/ 70 w 141"/>
                <a:gd name="T29" fmla="*/ 27 h 166"/>
                <a:gd name="T30" fmla="*/ 40 w 141"/>
                <a:gd name="T31" fmla="*/ 40 h 166"/>
                <a:gd name="T32" fmla="*/ 27 w 141"/>
                <a:gd name="T33" fmla="*/ 70 h 166"/>
                <a:gd name="T34" fmla="*/ 40 w 141"/>
                <a:gd name="T35" fmla="*/ 101 h 166"/>
                <a:gd name="T36" fmla="*/ 70 w 141"/>
                <a:gd name="T37" fmla="*/ 113 h 166"/>
                <a:gd name="T38" fmla="*/ 101 w 141"/>
                <a:gd name="T39" fmla="*/ 101 h 166"/>
                <a:gd name="T40" fmla="*/ 113 w 141"/>
                <a:gd name="T41" fmla="*/ 7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1" h="166">
                  <a:moveTo>
                    <a:pt x="141" y="70"/>
                  </a:moveTo>
                  <a:cubicBezTo>
                    <a:pt x="141" y="87"/>
                    <a:pt x="135" y="102"/>
                    <a:pt x="125" y="115"/>
                  </a:cubicBezTo>
                  <a:cubicBezTo>
                    <a:pt x="114" y="128"/>
                    <a:pt x="100" y="136"/>
                    <a:pt x="84" y="139"/>
                  </a:cubicBezTo>
                  <a:cubicBezTo>
                    <a:pt x="84" y="166"/>
                    <a:pt x="84" y="166"/>
                    <a:pt x="84" y="166"/>
                  </a:cubicBezTo>
                  <a:cubicBezTo>
                    <a:pt x="56" y="166"/>
                    <a:pt x="56" y="166"/>
                    <a:pt x="56" y="166"/>
                  </a:cubicBezTo>
                  <a:cubicBezTo>
                    <a:pt x="56" y="139"/>
                    <a:pt x="56" y="139"/>
                    <a:pt x="56" y="139"/>
                  </a:cubicBezTo>
                  <a:cubicBezTo>
                    <a:pt x="40" y="136"/>
                    <a:pt x="26" y="128"/>
                    <a:pt x="16" y="115"/>
                  </a:cubicBezTo>
                  <a:cubicBezTo>
                    <a:pt x="5" y="102"/>
                    <a:pt x="0" y="87"/>
                    <a:pt x="0" y="70"/>
                  </a:cubicBezTo>
                  <a:cubicBezTo>
                    <a:pt x="0" y="51"/>
                    <a:pt x="6" y="34"/>
                    <a:pt x="20" y="20"/>
                  </a:cubicBezTo>
                  <a:cubicBezTo>
                    <a:pt x="34" y="6"/>
                    <a:pt x="51" y="0"/>
                    <a:pt x="70" y="0"/>
                  </a:cubicBezTo>
                  <a:cubicBezTo>
                    <a:pt x="90" y="0"/>
                    <a:pt x="106" y="6"/>
                    <a:pt x="120" y="20"/>
                  </a:cubicBezTo>
                  <a:cubicBezTo>
                    <a:pt x="134" y="34"/>
                    <a:pt x="141" y="51"/>
                    <a:pt x="141" y="70"/>
                  </a:cubicBezTo>
                  <a:close/>
                  <a:moveTo>
                    <a:pt x="113" y="70"/>
                  </a:moveTo>
                  <a:cubicBezTo>
                    <a:pt x="113" y="58"/>
                    <a:pt x="109" y="48"/>
                    <a:pt x="101" y="40"/>
                  </a:cubicBezTo>
                  <a:cubicBezTo>
                    <a:pt x="92" y="31"/>
                    <a:pt x="82" y="27"/>
                    <a:pt x="70" y="27"/>
                  </a:cubicBezTo>
                  <a:cubicBezTo>
                    <a:pt x="58" y="27"/>
                    <a:pt x="48" y="31"/>
                    <a:pt x="40" y="40"/>
                  </a:cubicBezTo>
                  <a:cubicBezTo>
                    <a:pt x="31" y="48"/>
                    <a:pt x="27" y="58"/>
                    <a:pt x="27" y="70"/>
                  </a:cubicBezTo>
                  <a:cubicBezTo>
                    <a:pt x="27" y="82"/>
                    <a:pt x="31" y="92"/>
                    <a:pt x="40" y="101"/>
                  </a:cubicBezTo>
                  <a:cubicBezTo>
                    <a:pt x="48" y="109"/>
                    <a:pt x="58" y="113"/>
                    <a:pt x="70" y="113"/>
                  </a:cubicBezTo>
                  <a:cubicBezTo>
                    <a:pt x="82" y="113"/>
                    <a:pt x="92" y="109"/>
                    <a:pt x="101" y="101"/>
                  </a:cubicBezTo>
                  <a:cubicBezTo>
                    <a:pt x="109" y="92"/>
                    <a:pt x="113" y="82"/>
                    <a:pt x="113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" name="Freeform 18"/>
            <p:cNvSpPr>
              <a:spLocks/>
            </p:cNvSpPr>
            <p:nvPr userDrawn="1"/>
          </p:nvSpPr>
          <p:spPr bwMode="auto">
            <a:xfrm>
              <a:off x="7277101" y="2063750"/>
              <a:ext cx="184150" cy="284163"/>
            </a:xfrm>
            <a:custGeom>
              <a:avLst/>
              <a:gdLst>
                <a:gd name="T0" fmla="*/ 11 w 49"/>
                <a:gd name="T1" fmla="*/ 65 h 76"/>
                <a:gd name="T2" fmla="*/ 22 w 49"/>
                <a:gd name="T3" fmla="*/ 69 h 76"/>
                <a:gd name="T4" fmla="*/ 37 w 49"/>
                <a:gd name="T5" fmla="*/ 65 h 76"/>
                <a:gd name="T6" fmla="*/ 41 w 49"/>
                <a:gd name="T7" fmla="*/ 57 h 76"/>
                <a:gd name="T8" fmla="*/ 41 w 49"/>
                <a:gd name="T9" fmla="*/ 56 h 76"/>
                <a:gd name="T10" fmla="*/ 41 w 49"/>
                <a:gd name="T11" fmla="*/ 56 h 76"/>
                <a:gd name="T12" fmla="*/ 41 w 49"/>
                <a:gd name="T13" fmla="*/ 55 h 76"/>
                <a:gd name="T14" fmla="*/ 41 w 49"/>
                <a:gd name="T15" fmla="*/ 54 h 76"/>
                <a:gd name="T16" fmla="*/ 38 w 49"/>
                <a:gd name="T17" fmla="*/ 48 h 76"/>
                <a:gd name="T18" fmla="*/ 33 w 49"/>
                <a:gd name="T19" fmla="*/ 44 h 76"/>
                <a:gd name="T20" fmla="*/ 30 w 49"/>
                <a:gd name="T21" fmla="*/ 43 h 76"/>
                <a:gd name="T22" fmla="*/ 27 w 49"/>
                <a:gd name="T23" fmla="*/ 42 h 76"/>
                <a:gd name="T24" fmla="*/ 25 w 49"/>
                <a:gd name="T25" fmla="*/ 41 h 76"/>
                <a:gd name="T26" fmla="*/ 24 w 49"/>
                <a:gd name="T27" fmla="*/ 41 h 76"/>
                <a:gd name="T28" fmla="*/ 8 w 49"/>
                <a:gd name="T29" fmla="*/ 34 h 76"/>
                <a:gd name="T30" fmla="*/ 1 w 49"/>
                <a:gd name="T31" fmla="*/ 19 h 76"/>
                <a:gd name="T32" fmla="*/ 8 w 49"/>
                <a:gd name="T33" fmla="*/ 6 h 76"/>
                <a:gd name="T34" fmla="*/ 23 w 49"/>
                <a:gd name="T35" fmla="*/ 0 h 76"/>
                <a:gd name="T36" fmla="*/ 40 w 49"/>
                <a:gd name="T37" fmla="*/ 5 h 76"/>
                <a:gd name="T38" fmla="*/ 47 w 49"/>
                <a:gd name="T39" fmla="*/ 17 h 76"/>
                <a:gd name="T40" fmla="*/ 40 w 49"/>
                <a:gd name="T41" fmla="*/ 17 h 76"/>
                <a:gd name="T42" fmla="*/ 36 w 49"/>
                <a:gd name="T43" fmla="*/ 10 h 76"/>
                <a:gd name="T44" fmla="*/ 23 w 49"/>
                <a:gd name="T45" fmla="*/ 6 h 76"/>
                <a:gd name="T46" fmla="*/ 13 w 49"/>
                <a:gd name="T47" fmla="*/ 11 h 76"/>
                <a:gd name="T48" fmla="*/ 9 w 49"/>
                <a:gd name="T49" fmla="*/ 19 h 76"/>
                <a:gd name="T50" fmla="*/ 9 w 49"/>
                <a:gd name="T51" fmla="*/ 19 h 76"/>
                <a:gd name="T52" fmla="*/ 9 w 49"/>
                <a:gd name="T53" fmla="*/ 19 h 76"/>
                <a:gd name="T54" fmla="*/ 9 w 49"/>
                <a:gd name="T55" fmla="*/ 20 h 76"/>
                <a:gd name="T56" fmla="*/ 9 w 49"/>
                <a:gd name="T57" fmla="*/ 21 h 76"/>
                <a:gd name="T58" fmla="*/ 11 w 49"/>
                <a:gd name="T59" fmla="*/ 26 h 76"/>
                <a:gd name="T60" fmla="*/ 17 w 49"/>
                <a:gd name="T61" fmla="*/ 31 h 76"/>
                <a:gd name="T62" fmla="*/ 21 w 49"/>
                <a:gd name="T63" fmla="*/ 32 h 76"/>
                <a:gd name="T64" fmla="*/ 25 w 49"/>
                <a:gd name="T65" fmla="*/ 34 h 76"/>
                <a:gd name="T66" fmla="*/ 27 w 49"/>
                <a:gd name="T67" fmla="*/ 35 h 76"/>
                <a:gd name="T68" fmla="*/ 29 w 49"/>
                <a:gd name="T69" fmla="*/ 35 h 76"/>
                <a:gd name="T70" fmla="*/ 43 w 49"/>
                <a:gd name="T71" fmla="*/ 42 h 76"/>
                <a:gd name="T72" fmla="*/ 49 w 49"/>
                <a:gd name="T73" fmla="*/ 55 h 76"/>
                <a:gd name="T74" fmla="*/ 41 w 49"/>
                <a:gd name="T75" fmla="*/ 71 h 76"/>
                <a:gd name="T76" fmla="*/ 23 w 49"/>
                <a:gd name="T77" fmla="*/ 76 h 76"/>
                <a:gd name="T78" fmla="*/ 23 w 49"/>
                <a:gd name="T79" fmla="*/ 76 h 76"/>
                <a:gd name="T80" fmla="*/ 22 w 49"/>
                <a:gd name="T81" fmla="*/ 76 h 76"/>
                <a:gd name="T82" fmla="*/ 7 w 49"/>
                <a:gd name="T83" fmla="*/ 71 h 76"/>
                <a:gd name="T84" fmla="*/ 0 w 49"/>
                <a:gd name="T85" fmla="*/ 55 h 76"/>
                <a:gd name="T86" fmla="*/ 7 w 49"/>
                <a:gd name="T87" fmla="*/ 55 h 76"/>
                <a:gd name="T88" fmla="*/ 11 w 49"/>
                <a:gd name="T89" fmla="*/ 6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76">
                  <a:moveTo>
                    <a:pt x="11" y="65"/>
                  </a:moveTo>
                  <a:cubicBezTo>
                    <a:pt x="14" y="68"/>
                    <a:pt x="18" y="69"/>
                    <a:pt x="22" y="69"/>
                  </a:cubicBezTo>
                  <a:cubicBezTo>
                    <a:pt x="29" y="69"/>
                    <a:pt x="34" y="68"/>
                    <a:pt x="37" y="65"/>
                  </a:cubicBezTo>
                  <a:cubicBezTo>
                    <a:pt x="40" y="63"/>
                    <a:pt x="41" y="60"/>
                    <a:pt x="41" y="57"/>
                  </a:cubicBezTo>
                  <a:cubicBezTo>
                    <a:pt x="41" y="57"/>
                    <a:pt x="41" y="57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5"/>
                  </a:cubicBezTo>
                  <a:cubicBezTo>
                    <a:pt x="41" y="55"/>
                    <a:pt x="41" y="55"/>
                    <a:pt x="41" y="54"/>
                  </a:cubicBezTo>
                  <a:cubicBezTo>
                    <a:pt x="41" y="52"/>
                    <a:pt x="40" y="50"/>
                    <a:pt x="38" y="48"/>
                  </a:cubicBezTo>
                  <a:cubicBezTo>
                    <a:pt x="37" y="46"/>
                    <a:pt x="35" y="45"/>
                    <a:pt x="33" y="44"/>
                  </a:cubicBezTo>
                  <a:cubicBezTo>
                    <a:pt x="32" y="43"/>
                    <a:pt x="31" y="43"/>
                    <a:pt x="30" y="43"/>
                  </a:cubicBezTo>
                  <a:cubicBezTo>
                    <a:pt x="29" y="43"/>
                    <a:pt x="28" y="42"/>
                    <a:pt x="27" y="42"/>
                  </a:cubicBezTo>
                  <a:cubicBezTo>
                    <a:pt x="27" y="42"/>
                    <a:pt x="26" y="42"/>
                    <a:pt x="25" y="41"/>
                  </a:cubicBezTo>
                  <a:cubicBezTo>
                    <a:pt x="25" y="41"/>
                    <a:pt x="24" y="41"/>
                    <a:pt x="24" y="41"/>
                  </a:cubicBezTo>
                  <a:cubicBezTo>
                    <a:pt x="18" y="39"/>
                    <a:pt x="13" y="37"/>
                    <a:pt x="8" y="34"/>
                  </a:cubicBezTo>
                  <a:cubicBezTo>
                    <a:pt x="4" y="31"/>
                    <a:pt x="1" y="26"/>
                    <a:pt x="1" y="19"/>
                  </a:cubicBezTo>
                  <a:cubicBezTo>
                    <a:pt x="1" y="14"/>
                    <a:pt x="3" y="10"/>
                    <a:pt x="8" y="6"/>
                  </a:cubicBezTo>
                  <a:cubicBezTo>
                    <a:pt x="12" y="2"/>
                    <a:pt x="17" y="0"/>
                    <a:pt x="23" y="0"/>
                  </a:cubicBezTo>
                  <a:cubicBezTo>
                    <a:pt x="30" y="0"/>
                    <a:pt x="35" y="2"/>
                    <a:pt x="40" y="5"/>
                  </a:cubicBezTo>
                  <a:cubicBezTo>
                    <a:pt x="45" y="8"/>
                    <a:pt x="47" y="12"/>
                    <a:pt x="4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4"/>
                    <a:pt x="39" y="12"/>
                    <a:pt x="36" y="10"/>
                  </a:cubicBezTo>
                  <a:cubicBezTo>
                    <a:pt x="33" y="8"/>
                    <a:pt x="29" y="6"/>
                    <a:pt x="23" y="6"/>
                  </a:cubicBezTo>
                  <a:cubicBezTo>
                    <a:pt x="19" y="7"/>
                    <a:pt x="15" y="8"/>
                    <a:pt x="13" y="11"/>
                  </a:cubicBezTo>
                  <a:cubicBezTo>
                    <a:pt x="10" y="13"/>
                    <a:pt x="9" y="16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3"/>
                    <a:pt x="10" y="25"/>
                    <a:pt x="11" y="26"/>
                  </a:cubicBezTo>
                  <a:cubicBezTo>
                    <a:pt x="13" y="28"/>
                    <a:pt x="15" y="29"/>
                    <a:pt x="17" y="31"/>
                  </a:cubicBezTo>
                  <a:cubicBezTo>
                    <a:pt x="18" y="31"/>
                    <a:pt x="19" y="32"/>
                    <a:pt x="21" y="32"/>
                  </a:cubicBezTo>
                  <a:cubicBezTo>
                    <a:pt x="22" y="33"/>
                    <a:pt x="23" y="33"/>
                    <a:pt x="25" y="34"/>
                  </a:cubicBezTo>
                  <a:cubicBezTo>
                    <a:pt x="26" y="34"/>
                    <a:pt x="26" y="34"/>
                    <a:pt x="27" y="35"/>
                  </a:cubicBezTo>
                  <a:cubicBezTo>
                    <a:pt x="28" y="35"/>
                    <a:pt x="29" y="35"/>
                    <a:pt x="29" y="35"/>
                  </a:cubicBezTo>
                  <a:cubicBezTo>
                    <a:pt x="35" y="37"/>
                    <a:pt x="39" y="39"/>
                    <a:pt x="43" y="42"/>
                  </a:cubicBezTo>
                  <a:cubicBezTo>
                    <a:pt x="47" y="44"/>
                    <a:pt x="49" y="49"/>
                    <a:pt x="49" y="55"/>
                  </a:cubicBezTo>
                  <a:cubicBezTo>
                    <a:pt x="49" y="63"/>
                    <a:pt x="46" y="68"/>
                    <a:pt x="41" y="71"/>
                  </a:cubicBezTo>
                  <a:cubicBezTo>
                    <a:pt x="36" y="74"/>
                    <a:pt x="30" y="75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2" y="76"/>
                  </a:cubicBezTo>
                  <a:cubicBezTo>
                    <a:pt x="16" y="76"/>
                    <a:pt x="11" y="74"/>
                    <a:pt x="7" y="71"/>
                  </a:cubicBezTo>
                  <a:cubicBezTo>
                    <a:pt x="3" y="67"/>
                    <a:pt x="1" y="62"/>
                    <a:pt x="0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9"/>
                    <a:pt x="9" y="62"/>
                    <a:pt x="11" y="6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19"/>
            <p:cNvSpPr>
              <a:spLocks noEditPoints="1"/>
            </p:cNvSpPr>
            <p:nvPr userDrawn="1"/>
          </p:nvSpPr>
          <p:spPr bwMode="auto">
            <a:xfrm>
              <a:off x="7516813" y="2063750"/>
              <a:ext cx="241300" cy="280988"/>
            </a:xfrm>
            <a:custGeom>
              <a:avLst/>
              <a:gdLst>
                <a:gd name="T0" fmla="*/ 0 w 64"/>
                <a:gd name="T1" fmla="*/ 37 h 75"/>
                <a:gd name="T2" fmla="*/ 8 w 64"/>
                <a:gd name="T3" fmla="*/ 11 h 75"/>
                <a:gd name="T4" fmla="*/ 32 w 64"/>
                <a:gd name="T5" fmla="*/ 0 h 75"/>
                <a:gd name="T6" fmla="*/ 54 w 64"/>
                <a:gd name="T7" fmla="*/ 11 h 75"/>
                <a:gd name="T8" fmla="*/ 64 w 64"/>
                <a:gd name="T9" fmla="*/ 33 h 75"/>
                <a:gd name="T10" fmla="*/ 64 w 64"/>
                <a:gd name="T11" fmla="*/ 36 h 75"/>
                <a:gd name="T12" fmla="*/ 64 w 64"/>
                <a:gd name="T13" fmla="*/ 38 h 75"/>
                <a:gd name="T14" fmla="*/ 64 w 64"/>
                <a:gd name="T15" fmla="*/ 39 h 75"/>
                <a:gd name="T16" fmla="*/ 64 w 64"/>
                <a:gd name="T17" fmla="*/ 39 h 75"/>
                <a:gd name="T18" fmla="*/ 56 w 64"/>
                <a:gd name="T19" fmla="*/ 64 h 75"/>
                <a:gd name="T20" fmla="*/ 32 w 64"/>
                <a:gd name="T21" fmla="*/ 75 h 75"/>
                <a:gd name="T22" fmla="*/ 7 w 64"/>
                <a:gd name="T23" fmla="*/ 64 h 75"/>
                <a:gd name="T24" fmla="*/ 0 w 64"/>
                <a:gd name="T25" fmla="*/ 38 h 75"/>
                <a:gd name="T26" fmla="*/ 0 w 64"/>
                <a:gd name="T27" fmla="*/ 37 h 75"/>
                <a:gd name="T28" fmla="*/ 7 w 64"/>
                <a:gd name="T29" fmla="*/ 37 h 75"/>
                <a:gd name="T30" fmla="*/ 13 w 64"/>
                <a:gd name="T31" fmla="*/ 60 h 75"/>
                <a:gd name="T32" fmla="*/ 32 w 64"/>
                <a:gd name="T33" fmla="*/ 69 h 75"/>
                <a:gd name="T34" fmla="*/ 50 w 64"/>
                <a:gd name="T35" fmla="*/ 60 h 75"/>
                <a:gd name="T36" fmla="*/ 57 w 64"/>
                <a:gd name="T37" fmla="*/ 38 h 75"/>
                <a:gd name="T38" fmla="*/ 50 w 64"/>
                <a:gd name="T39" fmla="*/ 16 h 75"/>
                <a:gd name="T40" fmla="*/ 32 w 64"/>
                <a:gd name="T41" fmla="*/ 6 h 75"/>
                <a:gd name="T42" fmla="*/ 15 w 64"/>
                <a:gd name="T43" fmla="*/ 14 h 75"/>
                <a:gd name="T44" fmla="*/ 7 w 64"/>
                <a:gd name="T45" fmla="*/ 31 h 75"/>
                <a:gd name="T46" fmla="*/ 7 w 64"/>
                <a:gd name="T47" fmla="*/ 34 h 75"/>
                <a:gd name="T48" fmla="*/ 7 w 64"/>
                <a:gd name="T49" fmla="*/ 36 h 75"/>
                <a:gd name="T50" fmla="*/ 7 w 64"/>
                <a:gd name="T51" fmla="*/ 36 h 75"/>
                <a:gd name="T52" fmla="*/ 7 w 64"/>
                <a:gd name="T53" fmla="*/ 37 h 75"/>
                <a:gd name="T54" fmla="*/ 7 w 64"/>
                <a:gd name="T55" fmla="*/ 37 h 75"/>
                <a:gd name="T56" fmla="*/ 7 w 64"/>
                <a:gd name="T57" fmla="*/ 38 h 75"/>
                <a:gd name="T58" fmla="*/ 7 w 64"/>
                <a:gd name="T59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" h="75">
                  <a:moveTo>
                    <a:pt x="0" y="37"/>
                  </a:moveTo>
                  <a:cubicBezTo>
                    <a:pt x="0" y="27"/>
                    <a:pt x="2" y="18"/>
                    <a:pt x="8" y="11"/>
                  </a:cubicBezTo>
                  <a:cubicBezTo>
                    <a:pt x="13" y="4"/>
                    <a:pt x="21" y="0"/>
                    <a:pt x="32" y="0"/>
                  </a:cubicBezTo>
                  <a:cubicBezTo>
                    <a:pt x="41" y="0"/>
                    <a:pt x="49" y="4"/>
                    <a:pt x="54" y="11"/>
                  </a:cubicBezTo>
                  <a:cubicBezTo>
                    <a:pt x="60" y="17"/>
                    <a:pt x="63" y="25"/>
                    <a:pt x="64" y="33"/>
                  </a:cubicBezTo>
                  <a:cubicBezTo>
                    <a:pt x="64" y="34"/>
                    <a:pt x="64" y="35"/>
                    <a:pt x="64" y="36"/>
                  </a:cubicBezTo>
                  <a:cubicBezTo>
                    <a:pt x="64" y="37"/>
                    <a:pt x="64" y="37"/>
                    <a:pt x="64" y="38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8"/>
                    <a:pt x="61" y="56"/>
                    <a:pt x="56" y="64"/>
                  </a:cubicBezTo>
                  <a:cubicBezTo>
                    <a:pt x="51" y="71"/>
                    <a:pt x="43" y="75"/>
                    <a:pt x="32" y="75"/>
                  </a:cubicBezTo>
                  <a:cubicBezTo>
                    <a:pt x="20" y="75"/>
                    <a:pt x="12" y="71"/>
                    <a:pt x="7" y="64"/>
                  </a:cubicBezTo>
                  <a:cubicBezTo>
                    <a:pt x="3" y="57"/>
                    <a:pt x="0" y="48"/>
                    <a:pt x="0" y="38"/>
                  </a:cubicBezTo>
                  <a:lnTo>
                    <a:pt x="0" y="37"/>
                  </a:lnTo>
                  <a:close/>
                  <a:moveTo>
                    <a:pt x="7" y="37"/>
                  </a:moveTo>
                  <a:cubicBezTo>
                    <a:pt x="7" y="46"/>
                    <a:pt x="9" y="53"/>
                    <a:pt x="13" y="60"/>
                  </a:cubicBezTo>
                  <a:cubicBezTo>
                    <a:pt x="17" y="66"/>
                    <a:pt x="23" y="69"/>
                    <a:pt x="32" y="69"/>
                  </a:cubicBezTo>
                  <a:cubicBezTo>
                    <a:pt x="40" y="69"/>
                    <a:pt x="46" y="66"/>
                    <a:pt x="50" y="60"/>
                  </a:cubicBezTo>
                  <a:cubicBezTo>
                    <a:pt x="54" y="55"/>
                    <a:pt x="57" y="47"/>
                    <a:pt x="57" y="38"/>
                  </a:cubicBezTo>
                  <a:cubicBezTo>
                    <a:pt x="57" y="30"/>
                    <a:pt x="54" y="22"/>
                    <a:pt x="50" y="16"/>
                  </a:cubicBezTo>
                  <a:cubicBezTo>
                    <a:pt x="46" y="10"/>
                    <a:pt x="40" y="6"/>
                    <a:pt x="32" y="6"/>
                  </a:cubicBezTo>
                  <a:cubicBezTo>
                    <a:pt x="25" y="6"/>
                    <a:pt x="19" y="9"/>
                    <a:pt x="15" y="14"/>
                  </a:cubicBezTo>
                  <a:cubicBezTo>
                    <a:pt x="11" y="19"/>
                    <a:pt x="8" y="25"/>
                    <a:pt x="7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7" y="34"/>
                    <a:pt x="7" y="35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8"/>
                  </a:cubicBezTo>
                  <a:lnTo>
                    <a:pt x="7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" name="Freeform 20"/>
            <p:cNvSpPr>
              <a:spLocks/>
            </p:cNvSpPr>
            <p:nvPr userDrawn="1"/>
          </p:nvSpPr>
          <p:spPr bwMode="auto">
            <a:xfrm>
              <a:off x="7829551" y="2070100"/>
              <a:ext cx="152400" cy="269875"/>
            </a:xfrm>
            <a:custGeom>
              <a:avLst/>
              <a:gdLst>
                <a:gd name="T0" fmla="*/ 96 w 96"/>
                <a:gd name="T1" fmla="*/ 0 h 170"/>
                <a:gd name="T2" fmla="*/ 96 w 96"/>
                <a:gd name="T3" fmla="*/ 17 h 170"/>
                <a:gd name="T4" fmla="*/ 16 w 96"/>
                <a:gd name="T5" fmla="*/ 17 h 170"/>
                <a:gd name="T6" fmla="*/ 16 w 96"/>
                <a:gd name="T7" fmla="*/ 76 h 170"/>
                <a:gd name="T8" fmla="*/ 92 w 96"/>
                <a:gd name="T9" fmla="*/ 76 h 170"/>
                <a:gd name="T10" fmla="*/ 92 w 96"/>
                <a:gd name="T11" fmla="*/ 92 h 170"/>
                <a:gd name="T12" fmla="*/ 16 w 96"/>
                <a:gd name="T13" fmla="*/ 92 h 170"/>
                <a:gd name="T14" fmla="*/ 16 w 96"/>
                <a:gd name="T15" fmla="*/ 170 h 170"/>
                <a:gd name="T16" fmla="*/ 0 w 96"/>
                <a:gd name="T17" fmla="*/ 170 h 170"/>
                <a:gd name="T18" fmla="*/ 0 w 96"/>
                <a:gd name="T19" fmla="*/ 0 h 170"/>
                <a:gd name="T20" fmla="*/ 96 w 96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70">
                  <a:moveTo>
                    <a:pt x="96" y="0"/>
                  </a:moveTo>
                  <a:lnTo>
                    <a:pt x="96" y="17"/>
                  </a:lnTo>
                  <a:lnTo>
                    <a:pt x="16" y="17"/>
                  </a:lnTo>
                  <a:lnTo>
                    <a:pt x="16" y="76"/>
                  </a:lnTo>
                  <a:lnTo>
                    <a:pt x="92" y="76"/>
                  </a:lnTo>
                  <a:lnTo>
                    <a:pt x="92" y="92"/>
                  </a:lnTo>
                  <a:lnTo>
                    <a:pt x="16" y="92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" name="Freeform 21"/>
            <p:cNvSpPr>
              <a:spLocks/>
            </p:cNvSpPr>
            <p:nvPr userDrawn="1"/>
          </p:nvSpPr>
          <p:spPr bwMode="auto">
            <a:xfrm>
              <a:off x="8012113" y="2074863"/>
              <a:ext cx="203200" cy="265113"/>
            </a:xfrm>
            <a:custGeom>
              <a:avLst/>
              <a:gdLst>
                <a:gd name="T0" fmla="*/ 128 w 128"/>
                <a:gd name="T1" fmla="*/ 0 h 167"/>
                <a:gd name="T2" fmla="*/ 128 w 128"/>
                <a:gd name="T3" fmla="*/ 14 h 167"/>
                <a:gd name="T4" fmla="*/ 71 w 128"/>
                <a:gd name="T5" fmla="*/ 14 h 167"/>
                <a:gd name="T6" fmla="*/ 71 w 128"/>
                <a:gd name="T7" fmla="*/ 167 h 167"/>
                <a:gd name="T8" fmla="*/ 55 w 128"/>
                <a:gd name="T9" fmla="*/ 167 h 167"/>
                <a:gd name="T10" fmla="*/ 55 w 128"/>
                <a:gd name="T11" fmla="*/ 14 h 167"/>
                <a:gd name="T12" fmla="*/ 0 w 128"/>
                <a:gd name="T13" fmla="*/ 14 h 167"/>
                <a:gd name="T14" fmla="*/ 0 w 128"/>
                <a:gd name="T15" fmla="*/ 0 h 167"/>
                <a:gd name="T16" fmla="*/ 128 w 128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67">
                  <a:moveTo>
                    <a:pt x="128" y="0"/>
                  </a:moveTo>
                  <a:lnTo>
                    <a:pt x="128" y="14"/>
                  </a:lnTo>
                  <a:lnTo>
                    <a:pt x="71" y="14"/>
                  </a:lnTo>
                  <a:lnTo>
                    <a:pt x="71" y="167"/>
                  </a:lnTo>
                  <a:lnTo>
                    <a:pt x="55" y="167"/>
                  </a:lnTo>
                  <a:lnTo>
                    <a:pt x="55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8" name="Freeform 22"/>
            <p:cNvSpPr>
              <a:spLocks/>
            </p:cNvSpPr>
            <p:nvPr userDrawn="1"/>
          </p:nvSpPr>
          <p:spPr bwMode="auto">
            <a:xfrm>
              <a:off x="8226426" y="2070100"/>
              <a:ext cx="366713" cy="269875"/>
            </a:xfrm>
            <a:custGeom>
              <a:avLst/>
              <a:gdLst>
                <a:gd name="T0" fmla="*/ 16 w 231"/>
                <a:gd name="T1" fmla="*/ 0 h 170"/>
                <a:gd name="T2" fmla="*/ 57 w 231"/>
                <a:gd name="T3" fmla="*/ 151 h 170"/>
                <a:gd name="T4" fmla="*/ 106 w 231"/>
                <a:gd name="T5" fmla="*/ 0 h 170"/>
                <a:gd name="T6" fmla="*/ 125 w 231"/>
                <a:gd name="T7" fmla="*/ 0 h 170"/>
                <a:gd name="T8" fmla="*/ 177 w 231"/>
                <a:gd name="T9" fmla="*/ 151 h 170"/>
                <a:gd name="T10" fmla="*/ 215 w 231"/>
                <a:gd name="T11" fmla="*/ 0 h 170"/>
                <a:gd name="T12" fmla="*/ 231 w 231"/>
                <a:gd name="T13" fmla="*/ 0 h 170"/>
                <a:gd name="T14" fmla="*/ 189 w 231"/>
                <a:gd name="T15" fmla="*/ 170 h 170"/>
                <a:gd name="T16" fmla="*/ 165 w 231"/>
                <a:gd name="T17" fmla="*/ 170 h 170"/>
                <a:gd name="T18" fmla="*/ 116 w 231"/>
                <a:gd name="T19" fmla="*/ 17 h 170"/>
                <a:gd name="T20" fmla="*/ 68 w 231"/>
                <a:gd name="T21" fmla="*/ 170 h 170"/>
                <a:gd name="T22" fmla="*/ 47 w 231"/>
                <a:gd name="T23" fmla="*/ 170 h 170"/>
                <a:gd name="T24" fmla="*/ 0 w 231"/>
                <a:gd name="T25" fmla="*/ 0 h 170"/>
                <a:gd name="T26" fmla="*/ 16 w 231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170">
                  <a:moveTo>
                    <a:pt x="16" y="0"/>
                  </a:moveTo>
                  <a:lnTo>
                    <a:pt x="57" y="151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77" y="151"/>
                  </a:lnTo>
                  <a:lnTo>
                    <a:pt x="215" y="0"/>
                  </a:lnTo>
                  <a:lnTo>
                    <a:pt x="231" y="0"/>
                  </a:lnTo>
                  <a:lnTo>
                    <a:pt x="189" y="170"/>
                  </a:lnTo>
                  <a:lnTo>
                    <a:pt x="165" y="170"/>
                  </a:lnTo>
                  <a:lnTo>
                    <a:pt x="116" y="17"/>
                  </a:lnTo>
                  <a:lnTo>
                    <a:pt x="68" y="170"/>
                  </a:lnTo>
                  <a:lnTo>
                    <a:pt x="47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23"/>
            <p:cNvSpPr>
              <a:spLocks noEditPoints="1"/>
            </p:cNvSpPr>
            <p:nvPr userDrawn="1"/>
          </p:nvSpPr>
          <p:spPr bwMode="auto">
            <a:xfrm>
              <a:off x="8609013" y="2070100"/>
              <a:ext cx="242888" cy="269875"/>
            </a:xfrm>
            <a:custGeom>
              <a:avLst/>
              <a:gdLst>
                <a:gd name="T0" fmla="*/ 85 w 153"/>
                <a:gd name="T1" fmla="*/ 0 h 170"/>
                <a:gd name="T2" fmla="*/ 153 w 153"/>
                <a:gd name="T3" fmla="*/ 170 h 170"/>
                <a:gd name="T4" fmla="*/ 134 w 153"/>
                <a:gd name="T5" fmla="*/ 170 h 170"/>
                <a:gd name="T6" fmla="*/ 118 w 153"/>
                <a:gd name="T7" fmla="*/ 125 h 170"/>
                <a:gd name="T8" fmla="*/ 33 w 153"/>
                <a:gd name="T9" fmla="*/ 125 h 170"/>
                <a:gd name="T10" fmla="*/ 16 w 153"/>
                <a:gd name="T11" fmla="*/ 170 h 170"/>
                <a:gd name="T12" fmla="*/ 0 w 153"/>
                <a:gd name="T13" fmla="*/ 170 h 170"/>
                <a:gd name="T14" fmla="*/ 66 w 153"/>
                <a:gd name="T15" fmla="*/ 0 h 170"/>
                <a:gd name="T16" fmla="*/ 85 w 153"/>
                <a:gd name="T17" fmla="*/ 0 h 170"/>
                <a:gd name="T18" fmla="*/ 75 w 153"/>
                <a:gd name="T19" fmla="*/ 17 h 170"/>
                <a:gd name="T20" fmla="*/ 40 w 153"/>
                <a:gd name="T21" fmla="*/ 109 h 170"/>
                <a:gd name="T22" fmla="*/ 111 w 153"/>
                <a:gd name="T23" fmla="*/ 109 h 170"/>
                <a:gd name="T24" fmla="*/ 75 w 153"/>
                <a:gd name="T25" fmla="*/ 1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70">
                  <a:moveTo>
                    <a:pt x="85" y="0"/>
                  </a:moveTo>
                  <a:lnTo>
                    <a:pt x="153" y="170"/>
                  </a:lnTo>
                  <a:lnTo>
                    <a:pt x="134" y="170"/>
                  </a:lnTo>
                  <a:lnTo>
                    <a:pt x="118" y="125"/>
                  </a:lnTo>
                  <a:lnTo>
                    <a:pt x="33" y="125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66" y="0"/>
                  </a:lnTo>
                  <a:lnTo>
                    <a:pt x="85" y="0"/>
                  </a:lnTo>
                  <a:close/>
                  <a:moveTo>
                    <a:pt x="75" y="17"/>
                  </a:moveTo>
                  <a:lnTo>
                    <a:pt x="40" y="109"/>
                  </a:lnTo>
                  <a:lnTo>
                    <a:pt x="111" y="109"/>
                  </a:lnTo>
                  <a:lnTo>
                    <a:pt x="75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24"/>
            <p:cNvSpPr>
              <a:spLocks noEditPoints="1"/>
            </p:cNvSpPr>
            <p:nvPr userDrawn="1"/>
          </p:nvSpPr>
          <p:spPr bwMode="auto">
            <a:xfrm>
              <a:off x="8904288" y="2074863"/>
              <a:ext cx="184150" cy="265113"/>
            </a:xfrm>
            <a:custGeom>
              <a:avLst/>
              <a:gdLst>
                <a:gd name="T0" fmla="*/ 27 w 49"/>
                <a:gd name="T1" fmla="*/ 0 h 71"/>
                <a:gd name="T2" fmla="*/ 42 w 49"/>
                <a:gd name="T3" fmla="*/ 6 h 71"/>
                <a:gd name="T4" fmla="*/ 47 w 49"/>
                <a:gd name="T5" fmla="*/ 17 h 71"/>
                <a:gd name="T6" fmla="*/ 44 w 49"/>
                <a:gd name="T7" fmla="*/ 29 h 71"/>
                <a:gd name="T8" fmla="*/ 35 w 49"/>
                <a:gd name="T9" fmla="*/ 34 h 71"/>
                <a:gd name="T10" fmla="*/ 39 w 49"/>
                <a:gd name="T11" fmla="*/ 35 h 71"/>
                <a:gd name="T12" fmla="*/ 41 w 49"/>
                <a:gd name="T13" fmla="*/ 37 h 71"/>
                <a:gd name="T14" fmla="*/ 42 w 49"/>
                <a:gd name="T15" fmla="*/ 37 h 71"/>
                <a:gd name="T16" fmla="*/ 42 w 49"/>
                <a:gd name="T17" fmla="*/ 38 h 71"/>
                <a:gd name="T18" fmla="*/ 43 w 49"/>
                <a:gd name="T19" fmla="*/ 38 h 71"/>
                <a:gd name="T20" fmla="*/ 43 w 49"/>
                <a:gd name="T21" fmla="*/ 38 h 71"/>
                <a:gd name="T22" fmla="*/ 45 w 49"/>
                <a:gd name="T23" fmla="*/ 45 h 71"/>
                <a:gd name="T24" fmla="*/ 46 w 49"/>
                <a:gd name="T25" fmla="*/ 55 h 71"/>
                <a:gd name="T26" fmla="*/ 46 w 49"/>
                <a:gd name="T27" fmla="*/ 55 h 71"/>
                <a:gd name="T28" fmla="*/ 46 w 49"/>
                <a:gd name="T29" fmla="*/ 56 h 71"/>
                <a:gd name="T30" fmla="*/ 47 w 49"/>
                <a:gd name="T31" fmla="*/ 65 h 71"/>
                <a:gd name="T32" fmla="*/ 49 w 49"/>
                <a:gd name="T33" fmla="*/ 71 h 71"/>
                <a:gd name="T34" fmla="*/ 42 w 49"/>
                <a:gd name="T35" fmla="*/ 71 h 71"/>
                <a:gd name="T36" fmla="*/ 40 w 49"/>
                <a:gd name="T37" fmla="*/ 66 h 71"/>
                <a:gd name="T38" fmla="*/ 39 w 49"/>
                <a:gd name="T39" fmla="*/ 58 h 71"/>
                <a:gd name="T40" fmla="*/ 39 w 49"/>
                <a:gd name="T41" fmla="*/ 56 h 71"/>
                <a:gd name="T42" fmla="*/ 39 w 49"/>
                <a:gd name="T43" fmla="*/ 55 h 71"/>
                <a:gd name="T44" fmla="*/ 37 w 49"/>
                <a:gd name="T45" fmla="*/ 42 h 71"/>
                <a:gd name="T46" fmla="*/ 28 w 49"/>
                <a:gd name="T47" fmla="*/ 37 h 71"/>
                <a:gd name="T48" fmla="*/ 7 w 49"/>
                <a:gd name="T49" fmla="*/ 37 h 71"/>
                <a:gd name="T50" fmla="*/ 7 w 49"/>
                <a:gd name="T51" fmla="*/ 71 h 71"/>
                <a:gd name="T52" fmla="*/ 0 w 49"/>
                <a:gd name="T53" fmla="*/ 71 h 71"/>
                <a:gd name="T54" fmla="*/ 0 w 49"/>
                <a:gd name="T55" fmla="*/ 0 h 71"/>
                <a:gd name="T56" fmla="*/ 27 w 49"/>
                <a:gd name="T57" fmla="*/ 0 h 71"/>
                <a:gd name="T58" fmla="*/ 7 w 49"/>
                <a:gd name="T59" fmla="*/ 31 h 71"/>
                <a:gd name="T60" fmla="*/ 24 w 49"/>
                <a:gd name="T61" fmla="*/ 31 h 71"/>
                <a:gd name="T62" fmla="*/ 35 w 49"/>
                <a:gd name="T63" fmla="*/ 28 h 71"/>
                <a:gd name="T64" fmla="*/ 40 w 49"/>
                <a:gd name="T65" fmla="*/ 18 h 71"/>
                <a:gd name="T66" fmla="*/ 36 w 49"/>
                <a:gd name="T67" fmla="*/ 9 h 71"/>
                <a:gd name="T68" fmla="*/ 23 w 49"/>
                <a:gd name="T69" fmla="*/ 6 h 71"/>
                <a:gd name="T70" fmla="*/ 7 w 49"/>
                <a:gd name="T71" fmla="*/ 6 h 71"/>
                <a:gd name="T72" fmla="*/ 7 w 49"/>
                <a:gd name="T73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71">
                  <a:moveTo>
                    <a:pt x="27" y="0"/>
                  </a:moveTo>
                  <a:cubicBezTo>
                    <a:pt x="34" y="0"/>
                    <a:pt x="39" y="2"/>
                    <a:pt x="42" y="6"/>
                  </a:cubicBezTo>
                  <a:cubicBezTo>
                    <a:pt x="45" y="9"/>
                    <a:pt x="47" y="13"/>
                    <a:pt x="47" y="17"/>
                  </a:cubicBezTo>
                  <a:cubicBezTo>
                    <a:pt x="47" y="22"/>
                    <a:pt x="46" y="26"/>
                    <a:pt x="44" y="29"/>
                  </a:cubicBezTo>
                  <a:cubicBezTo>
                    <a:pt x="42" y="31"/>
                    <a:pt x="39" y="33"/>
                    <a:pt x="35" y="34"/>
                  </a:cubicBezTo>
                  <a:cubicBezTo>
                    <a:pt x="37" y="34"/>
                    <a:pt x="38" y="34"/>
                    <a:pt x="39" y="35"/>
                  </a:cubicBezTo>
                  <a:cubicBezTo>
                    <a:pt x="40" y="35"/>
                    <a:pt x="41" y="36"/>
                    <a:pt x="41" y="37"/>
                  </a:cubicBezTo>
                  <a:cubicBezTo>
                    <a:pt x="41" y="37"/>
                    <a:pt x="42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4" y="40"/>
                    <a:pt x="45" y="42"/>
                    <a:pt x="45" y="45"/>
                  </a:cubicBezTo>
                  <a:cubicBezTo>
                    <a:pt x="46" y="48"/>
                    <a:pt x="46" y="52"/>
                    <a:pt x="46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9"/>
                    <a:pt x="47" y="62"/>
                    <a:pt x="47" y="65"/>
                  </a:cubicBezTo>
                  <a:cubicBezTo>
                    <a:pt x="48" y="68"/>
                    <a:pt x="48" y="70"/>
                    <a:pt x="49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1" y="70"/>
                    <a:pt x="40" y="68"/>
                    <a:pt x="40" y="66"/>
                  </a:cubicBezTo>
                  <a:cubicBezTo>
                    <a:pt x="40" y="63"/>
                    <a:pt x="40" y="61"/>
                    <a:pt x="39" y="58"/>
                  </a:cubicBezTo>
                  <a:cubicBezTo>
                    <a:pt x="39" y="58"/>
                    <a:pt x="39" y="57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0"/>
                    <a:pt x="38" y="46"/>
                    <a:pt x="37" y="42"/>
                  </a:cubicBezTo>
                  <a:cubicBezTo>
                    <a:pt x="35" y="39"/>
                    <a:pt x="32" y="37"/>
                    <a:pt x="28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7" y="0"/>
                  </a:lnTo>
                  <a:close/>
                  <a:moveTo>
                    <a:pt x="7" y="31"/>
                  </a:moveTo>
                  <a:cubicBezTo>
                    <a:pt x="24" y="31"/>
                    <a:pt x="24" y="31"/>
                    <a:pt x="24" y="31"/>
                  </a:cubicBezTo>
                  <a:cubicBezTo>
                    <a:pt x="29" y="31"/>
                    <a:pt x="33" y="30"/>
                    <a:pt x="35" y="28"/>
                  </a:cubicBezTo>
                  <a:cubicBezTo>
                    <a:pt x="38" y="26"/>
                    <a:pt x="40" y="23"/>
                    <a:pt x="40" y="18"/>
                  </a:cubicBezTo>
                  <a:cubicBezTo>
                    <a:pt x="40" y="14"/>
                    <a:pt x="39" y="11"/>
                    <a:pt x="36" y="9"/>
                  </a:cubicBezTo>
                  <a:cubicBezTo>
                    <a:pt x="33" y="7"/>
                    <a:pt x="29" y="6"/>
                    <a:pt x="23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1" name="Freeform 25"/>
            <p:cNvSpPr>
              <a:spLocks/>
            </p:cNvSpPr>
            <p:nvPr userDrawn="1"/>
          </p:nvSpPr>
          <p:spPr bwMode="auto">
            <a:xfrm>
              <a:off x="9163051" y="2070100"/>
              <a:ext cx="169863" cy="269875"/>
            </a:xfrm>
            <a:custGeom>
              <a:avLst/>
              <a:gdLst>
                <a:gd name="T0" fmla="*/ 102 w 107"/>
                <a:gd name="T1" fmla="*/ 0 h 170"/>
                <a:gd name="T2" fmla="*/ 102 w 107"/>
                <a:gd name="T3" fmla="*/ 17 h 170"/>
                <a:gd name="T4" fmla="*/ 17 w 107"/>
                <a:gd name="T5" fmla="*/ 17 h 170"/>
                <a:gd name="T6" fmla="*/ 17 w 107"/>
                <a:gd name="T7" fmla="*/ 76 h 170"/>
                <a:gd name="T8" fmla="*/ 97 w 107"/>
                <a:gd name="T9" fmla="*/ 76 h 170"/>
                <a:gd name="T10" fmla="*/ 97 w 107"/>
                <a:gd name="T11" fmla="*/ 92 h 170"/>
                <a:gd name="T12" fmla="*/ 17 w 107"/>
                <a:gd name="T13" fmla="*/ 92 h 170"/>
                <a:gd name="T14" fmla="*/ 17 w 107"/>
                <a:gd name="T15" fmla="*/ 156 h 170"/>
                <a:gd name="T16" fmla="*/ 107 w 107"/>
                <a:gd name="T17" fmla="*/ 156 h 170"/>
                <a:gd name="T18" fmla="*/ 107 w 107"/>
                <a:gd name="T19" fmla="*/ 170 h 170"/>
                <a:gd name="T20" fmla="*/ 0 w 107"/>
                <a:gd name="T21" fmla="*/ 170 h 170"/>
                <a:gd name="T22" fmla="*/ 0 w 107"/>
                <a:gd name="T23" fmla="*/ 0 h 170"/>
                <a:gd name="T24" fmla="*/ 102 w 107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70">
                  <a:moveTo>
                    <a:pt x="102" y="0"/>
                  </a:moveTo>
                  <a:lnTo>
                    <a:pt x="102" y="17"/>
                  </a:lnTo>
                  <a:lnTo>
                    <a:pt x="17" y="17"/>
                  </a:lnTo>
                  <a:lnTo>
                    <a:pt x="17" y="76"/>
                  </a:lnTo>
                  <a:lnTo>
                    <a:pt x="97" y="76"/>
                  </a:lnTo>
                  <a:lnTo>
                    <a:pt x="97" y="92"/>
                  </a:lnTo>
                  <a:lnTo>
                    <a:pt x="17" y="92"/>
                  </a:lnTo>
                  <a:lnTo>
                    <a:pt x="17" y="156"/>
                  </a:lnTo>
                  <a:lnTo>
                    <a:pt x="107" y="156"/>
                  </a:lnTo>
                  <a:lnTo>
                    <a:pt x="107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2" name="Freeform 26"/>
            <p:cNvSpPr>
              <a:spLocks/>
            </p:cNvSpPr>
            <p:nvPr userDrawn="1"/>
          </p:nvSpPr>
          <p:spPr bwMode="auto">
            <a:xfrm>
              <a:off x="9594851" y="2070100"/>
              <a:ext cx="168275" cy="269875"/>
            </a:xfrm>
            <a:custGeom>
              <a:avLst/>
              <a:gdLst>
                <a:gd name="T0" fmla="*/ 102 w 106"/>
                <a:gd name="T1" fmla="*/ 0 h 170"/>
                <a:gd name="T2" fmla="*/ 102 w 106"/>
                <a:gd name="T3" fmla="*/ 17 h 170"/>
                <a:gd name="T4" fmla="*/ 17 w 106"/>
                <a:gd name="T5" fmla="*/ 17 h 170"/>
                <a:gd name="T6" fmla="*/ 17 w 106"/>
                <a:gd name="T7" fmla="*/ 76 h 170"/>
                <a:gd name="T8" fmla="*/ 99 w 106"/>
                <a:gd name="T9" fmla="*/ 76 h 170"/>
                <a:gd name="T10" fmla="*/ 99 w 106"/>
                <a:gd name="T11" fmla="*/ 92 h 170"/>
                <a:gd name="T12" fmla="*/ 17 w 106"/>
                <a:gd name="T13" fmla="*/ 92 h 170"/>
                <a:gd name="T14" fmla="*/ 17 w 106"/>
                <a:gd name="T15" fmla="*/ 156 h 170"/>
                <a:gd name="T16" fmla="*/ 106 w 106"/>
                <a:gd name="T17" fmla="*/ 156 h 170"/>
                <a:gd name="T18" fmla="*/ 106 w 106"/>
                <a:gd name="T19" fmla="*/ 170 h 170"/>
                <a:gd name="T20" fmla="*/ 0 w 106"/>
                <a:gd name="T21" fmla="*/ 170 h 170"/>
                <a:gd name="T22" fmla="*/ 0 w 106"/>
                <a:gd name="T23" fmla="*/ 0 h 170"/>
                <a:gd name="T24" fmla="*/ 102 w 106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70">
                  <a:moveTo>
                    <a:pt x="102" y="0"/>
                  </a:moveTo>
                  <a:lnTo>
                    <a:pt x="102" y="17"/>
                  </a:lnTo>
                  <a:lnTo>
                    <a:pt x="17" y="17"/>
                  </a:lnTo>
                  <a:lnTo>
                    <a:pt x="17" y="76"/>
                  </a:lnTo>
                  <a:lnTo>
                    <a:pt x="99" y="76"/>
                  </a:lnTo>
                  <a:lnTo>
                    <a:pt x="99" y="92"/>
                  </a:lnTo>
                  <a:lnTo>
                    <a:pt x="17" y="92"/>
                  </a:lnTo>
                  <a:lnTo>
                    <a:pt x="17" y="156"/>
                  </a:lnTo>
                  <a:lnTo>
                    <a:pt x="106" y="156"/>
                  </a:lnTo>
                  <a:lnTo>
                    <a:pt x="10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3" name="Freeform 27"/>
            <p:cNvSpPr>
              <a:spLocks/>
            </p:cNvSpPr>
            <p:nvPr userDrawn="1"/>
          </p:nvSpPr>
          <p:spPr bwMode="auto">
            <a:xfrm>
              <a:off x="9828213" y="2070100"/>
              <a:ext cx="201613" cy="269875"/>
            </a:xfrm>
            <a:custGeom>
              <a:avLst/>
              <a:gdLst>
                <a:gd name="T0" fmla="*/ 16 w 127"/>
                <a:gd name="T1" fmla="*/ 0 h 170"/>
                <a:gd name="T2" fmla="*/ 111 w 127"/>
                <a:gd name="T3" fmla="*/ 149 h 170"/>
                <a:gd name="T4" fmla="*/ 111 w 127"/>
                <a:gd name="T5" fmla="*/ 0 h 170"/>
                <a:gd name="T6" fmla="*/ 127 w 127"/>
                <a:gd name="T7" fmla="*/ 0 h 170"/>
                <a:gd name="T8" fmla="*/ 127 w 127"/>
                <a:gd name="T9" fmla="*/ 170 h 170"/>
                <a:gd name="T10" fmla="*/ 108 w 127"/>
                <a:gd name="T11" fmla="*/ 170 h 170"/>
                <a:gd name="T12" fmla="*/ 16 w 127"/>
                <a:gd name="T13" fmla="*/ 24 h 170"/>
                <a:gd name="T14" fmla="*/ 16 w 127"/>
                <a:gd name="T15" fmla="*/ 170 h 170"/>
                <a:gd name="T16" fmla="*/ 0 w 127"/>
                <a:gd name="T17" fmla="*/ 170 h 170"/>
                <a:gd name="T18" fmla="*/ 0 w 127"/>
                <a:gd name="T19" fmla="*/ 0 h 170"/>
                <a:gd name="T20" fmla="*/ 16 w 127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70">
                  <a:moveTo>
                    <a:pt x="16" y="0"/>
                  </a:moveTo>
                  <a:lnTo>
                    <a:pt x="111" y="149"/>
                  </a:lnTo>
                  <a:lnTo>
                    <a:pt x="111" y="0"/>
                  </a:lnTo>
                  <a:lnTo>
                    <a:pt x="127" y="0"/>
                  </a:lnTo>
                  <a:lnTo>
                    <a:pt x="127" y="170"/>
                  </a:lnTo>
                  <a:lnTo>
                    <a:pt x="108" y="170"/>
                  </a:lnTo>
                  <a:lnTo>
                    <a:pt x="16" y="24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4" name="Freeform 28"/>
            <p:cNvSpPr>
              <a:spLocks/>
            </p:cNvSpPr>
            <p:nvPr userDrawn="1"/>
          </p:nvSpPr>
          <p:spPr bwMode="auto">
            <a:xfrm>
              <a:off x="10093326" y="2070100"/>
              <a:ext cx="211138" cy="277813"/>
            </a:xfrm>
            <a:custGeom>
              <a:avLst/>
              <a:gdLst>
                <a:gd name="T0" fmla="*/ 56 w 56"/>
                <a:gd name="T1" fmla="*/ 35 h 74"/>
                <a:gd name="T2" fmla="*/ 56 w 56"/>
                <a:gd name="T3" fmla="*/ 69 h 74"/>
                <a:gd name="T4" fmla="*/ 51 w 56"/>
                <a:gd name="T5" fmla="*/ 71 h 74"/>
                <a:gd name="T6" fmla="*/ 45 w 56"/>
                <a:gd name="T7" fmla="*/ 73 h 74"/>
                <a:gd name="T8" fmla="*/ 39 w 56"/>
                <a:gd name="T9" fmla="*/ 73 h 74"/>
                <a:gd name="T10" fmla="*/ 33 w 56"/>
                <a:gd name="T11" fmla="*/ 74 h 74"/>
                <a:gd name="T12" fmla="*/ 8 w 56"/>
                <a:gd name="T13" fmla="*/ 63 h 74"/>
                <a:gd name="T14" fmla="*/ 0 w 56"/>
                <a:gd name="T15" fmla="*/ 36 h 74"/>
                <a:gd name="T16" fmla="*/ 0 w 56"/>
                <a:gd name="T17" fmla="*/ 30 h 74"/>
                <a:gd name="T18" fmla="*/ 2 w 56"/>
                <a:gd name="T19" fmla="*/ 24 h 74"/>
                <a:gd name="T20" fmla="*/ 11 w 56"/>
                <a:gd name="T21" fmla="*/ 7 h 74"/>
                <a:gd name="T22" fmla="*/ 31 w 56"/>
                <a:gd name="T23" fmla="*/ 0 h 74"/>
                <a:gd name="T24" fmla="*/ 48 w 56"/>
                <a:gd name="T25" fmla="*/ 5 h 74"/>
                <a:gd name="T26" fmla="*/ 56 w 56"/>
                <a:gd name="T27" fmla="*/ 18 h 74"/>
                <a:gd name="T28" fmla="*/ 48 w 56"/>
                <a:gd name="T29" fmla="*/ 18 h 74"/>
                <a:gd name="T30" fmla="*/ 44 w 56"/>
                <a:gd name="T31" fmla="*/ 11 h 74"/>
                <a:gd name="T32" fmla="*/ 37 w 56"/>
                <a:gd name="T33" fmla="*/ 7 h 74"/>
                <a:gd name="T34" fmla="*/ 34 w 56"/>
                <a:gd name="T35" fmla="*/ 6 h 74"/>
                <a:gd name="T36" fmla="*/ 31 w 56"/>
                <a:gd name="T37" fmla="*/ 6 h 74"/>
                <a:gd name="T38" fmla="*/ 13 w 56"/>
                <a:gd name="T39" fmla="*/ 15 h 74"/>
                <a:gd name="T40" fmla="*/ 7 w 56"/>
                <a:gd name="T41" fmla="*/ 36 h 74"/>
                <a:gd name="T42" fmla="*/ 14 w 56"/>
                <a:gd name="T43" fmla="*/ 59 h 74"/>
                <a:gd name="T44" fmla="*/ 28 w 56"/>
                <a:gd name="T45" fmla="*/ 67 h 74"/>
                <a:gd name="T46" fmla="*/ 30 w 56"/>
                <a:gd name="T47" fmla="*/ 67 h 74"/>
                <a:gd name="T48" fmla="*/ 33 w 56"/>
                <a:gd name="T49" fmla="*/ 67 h 74"/>
                <a:gd name="T50" fmla="*/ 37 w 56"/>
                <a:gd name="T51" fmla="*/ 67 h 74"/>
                <a:gd name="T52" fmla="*/ 41 w 56"/>
                <a:gd name="T53" fmla="*/ 67 h 74"/>
                <a:gd name="T54" fmla="*/ 46 w 56"/>
                <a:gd name="T55" fmla="*/ 66 h 74"/>
                <a:gd name="T56" fmla="*/ 49 w 56"/>
                <a:gd name="T57" fmla="*/ 64 h 74"/>
                <a:gd name="T58" fmla="*/ 49 w 56"/>
                <a:gd name="T59" fmla="*/ 42 h 74"/>
                <a:gd name="T60" fmla="*/ 31 w 56"/>
                <a:gd name="T61" fmla="*/ 42 h 74"/>
                <a:gd name="T62" fmla="*/ 31 w 56"/>
                <a:gd name="T63" fmla="*/ 35 h 74"/>
                <a:gd name="T64" fmla="*/ 56 w 56"/>
                <a:gd name="T65" fmla="*/ 3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74">
                  <a:moveTo>
                    <a:pt x="56" y="35"/>
                  </a:moveTo>
                  <a:cubicBezTo>
                    <a:pt x="56" y="69"/>
                    <a:pt x="56" y="69"/>
                    <a:pt x="56" y="69"/>
                  </a:cubicBezTo>
                  <a:cubicBezTo>
                    <a:pt x="55" y="70"/>
                    <a:pt x="53" y="71"/>
                    <a:pt x="51" y="71"/>
                  </a:cubicBezTo>
                  <a:cubicBezTo>
                    <a:pt x="49" y="72"/>
                    <a:pt x="47" y="72"/>
                    <a:pt x="45" y="73"/>
                  </a:cubicBezTo>
                  <a:cubicBezTo>
                    <a:pt x="43" y="73"/>
                    <a:pt x="41" y="73"/>
                    <a:pt x="39" y="73"/>
                  </a:cubicBezTo>
                  <a:cubicBezTo>
                    <a:pt x="37" y="73"/>
                    <a:pt x="35" y="74"/>
                    <a:pt x="33" y="74"/>
                  </a:cubicBezTo>
                  <a:cubicBezTo>
                    <a:pt x="23" y="74"/>
                    <a:pt x="14" y="70"/>
                    <a:pt x="8" y="63"/>
                  </a:cubicBezTo>
                  <a:cubicBezTo>
                    <a:pt x="3" y="56"/>
                    <a:pt x="0" y="47"/>
                    <a:pt x="0" y="36"/>
                  </a:cubicBezTo>
                  <a:cubicBezTo>
                    <a:pt x="0" y="34"/>
                    <a:pt x="0" y="32"/>
                    <a:pt x="0" y="30"/>
                  </a:cubicBezTo>
                  <a:cubicBezTo>
                    <a:pt x="0" y="28"/>
                    <a:pt x="1" y="26"/>
                    <a:pt x="2" y="24"/>
                  </a:cubicBezTo>
                  <a:cubicBezTo>
                    <a:pt x="3" y="18"/>
                    <a:pt x="6" y="12"/>
                    <a:pt x="11" y="7"/>
                  </a:cubicBezTo>
                  <a:cubicBezTo>
                    <a:pt x="16" y="2"/>
                    <a:pt x="22" y="0"/>
                    <a:pt x="31" y="0"/>
                  </a:cubicBezTo>
                  <a:cubicBezTo>
                    <a:pt x="38" y="0"/>
                    <a:pt x="44" y="2"/>
                    <a:pt x="48" y="5"/>
                  </a:cubicBezTo>
                  <a:cubicBezTo>
                    <a:pt x="53" y="9"/>
                    <a:pt x="55" y="13"/>
                    <a:pt x="56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7" y="15"/>
                    <a:pt x="46" y="13"/>
                    <a:pt x="44" y="11"/>
                  </a:cubicBezTo>
                  <a:cubicBezTo>
                    <a:pt x="42" y="9"/>
                    <a:pt x="39" y="8"/>
                    <a:pt x="37" y="7"/>
                  </a:cubicBezTo>
                  <a:cubicBezTo>
                    <a:pt x="36" y="7"/>
                    <a:pt x="35" y="6"/>
                    <a:pt x="34" y="6"/>
                  </a:cubicBezTo>
                  <a:cubicBezTo>
                    <a:pt x="33" y="6"/>
                    <a:pt x="32" y="6"/>
                    <a:pt x="31" y="6"/>
                  </a:cubicBezTo>
                  <a:cubicBezTo>
                    <a:pt x="23" y="6"/>
                    <a:pt x="18" y="9"/>
                    <a:pt x="13" y="15"/>
                  </a:cubicBezTo>
                  <a:cubicBezTo>
                    <a:pt x="9" y="21"/>
                    <a:pt x="7" y="28"/>
                    <a:pt x="7" y="36"/>
                  </a:cubicBezTo>
                  <a:cubicBezTo>
                    <a:pt x="7" y="47"/>
                    <a:pt x="10" y="55"/>
                    <a:pt x="14" y="59"/>
                  </a:cubicBezTo>
                  <a:cubicBezTo>
                    <a:pt x="18" y="64"/>
                    <a:pt x="23" y="66"/>
                    <a:pt x="28" y="67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31" y="67"/>
                    <a:pt x="32" y="67"/>
                    <a:pt x="33" y="67"/>
                  </a:cubicBezTo>
                  <a:cubicBezTo>
                    <a:pt x="34" y="67"/>
                    <a:pt x="36" y="67"/>
                    <a:pt x="37" y="67"/>
                  </a:cubicBezTo>
                  <a:cubicBezTo>
                    <a:pt x="38" y="67"/>
                    <a:pt x="40" y="67"/>
                    <a:pt x="41" y="67"/>
                  </a:cubicBezTo>
                  <a:cubicBezTo>
                    <a:pt x="43" y="67"/>
                    <a:pt x="44" y="66"/>
                    <a:pt x="46" y="66"/>
                  </a:cubicBezTo>
                  <a:cubicBezTo>
                    <a:pt x="47" y="65"/>
                    <a:pt x="48" y="65"/>
                    <a:pt x="49" y="64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35"/>
                    <a:pt x="31" y="35"/>
                    <a:pt x="31" y="35"/>
                  </a:cubicBezTo>
                  <a:lnTo>
                    <a:pt x="56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Rectangle 29"/>
            <p:cNvSpPr>
              <a:spLocks noChangeArrowheads="1"/>
            </p:cNvSpPr>
            <p:nvPr userDrawn="1"/>
          </p:nvSpPr>
          <p:spPr bwMode="auto">
            <a:xfrm>
              <a:off x="10387013" y="2070100"/>
              <a:ext cx="25400" cy="2698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Freeform 30"/>
            <p:cNvSpPr>
              <a:spLocks/>
            </p:cNvSpPr>
            <p:nvPr userDrawn="1"/>
          </p:nvSpPr>
          <p:spPr bwMode="auto">
            <a:xfrm>
              <a:off x="10491788" y="2070100"/>
              <a:ext cx="201613" cy="269875"/>
            </a:xfrm>
            <a:custGeom>
              <a:avLst/>
              <a:gdLst>
                <a:gd name="T0" fmla="*/ 16 w 127"/>
                <a:gd name="T1" fmla="*/ 0 h 170"/>
                <a:gd name="T2" fmla="*/ 111 w 127"/>
                <a:gd name="T3" fmla="*/ 149 h 170"/>
                <a:gd name="T4" fmla="*/ 111 w 127"/>
                <a:gd name="T5" fmla="*/ 0 h 170"/>
                <a:gd name="T6" fmla="*/ 127 w 127"/>
                <a:gd name="T7" fmla="*/ 0 h 170"/>
                <a:gd name="T8" fmla="*/ 127 w 127"/>
                <a:gd name="T9" fmla="*/ 170 h 170"/>
                <a:gd name="T10" fmla="*/ 108 w 127"/>
                <a:gd name="T11" fmla="*/ 170 h 170"/>
                <a:gd name="T12" fmla="*/ 16 w 127"/>
                <a:gd name="T13" fmla="*/ 24 h 170"/>
                <a:gd name="T14" fmla="*/ 16 w 127"/>
                <a:gd name="T15" fmla="*/ 170 h 170"/>
                <a:gd name="T16" fmla="*/ 0 w 127"/>
                <a:gd name="T17" fmla="*/ 170 h 170"/>
                <a:gd name="T18" fmla="*/ 0 w 127"/>
                <a:gd name="T19" fmla="*/ 0 h 170"/>
                <a:gd name="T20" fmla="*/ 16 w 127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70">
                  <a:moveTo>
                    <a:pt x="16" y="0"/>
                  </a:moveTo>
                  <a:lnTo>
                    <a:pt x="111" y="149"/>
                  </a:lnTo>
                  <a:lnTo>
                    <a:pt x="111" y="0"/>
                  </a:lnTo>
                  <a:lnTo>
                    <a:pt x="127" y="0"/>
                  </a:lnTo>
                  <a:lnTo>
                    <a:pt x="127" y="170"/>
                  </a:lnTo>
                  <a:lnTo>
                    <a:pt x="108" y="170"/>
                  </a:lnTo>
                  <a:lnTo>
                    <a:pt x="16" y="24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7" name="Freeform 31"/>
            <p:cNvSpPr>
              <a:spLocks/>
            </p:cNvSpPr>
            <p:nvPr userDrawn="1"/>
          </p:nvSpPr>
          <p:spPr bwMode="auto">
            <a:xfrm>
              <a:off x="10772776" y="2070100"/>
              <a:ext cx="168275" cy="269875"/>
            </a:xfrm>
            <a:custGeom>
              <a:avLst/>
              <a:gdLst>
                <a:gd name="T0" fmla="*/ 101 w 106"/>
                <a:gd name="T1" fmla="*/ 0 h 170"/>
                <a:gd name="T2" fmla="*/ 101 w 106"/>
                <a:gd name="T3" fmla="*/ 17 h 170"/>
                <a:gd name="T4" fmla="*/ 16 w 106"/>
                <a:gd name="T5" fmla="*/ 17 h 170"/>
                <a:gd name="T6" fmla="*/ 16 w 106"/>
                <a:gd name="T7" fmla="*/ 76 h 170"/>
                <a:gd name="T8" fmla="*/ 97 w 106"/>
                <a:gd name="T9" fmla="*/ 76 h 170"/>
                <a:gd name="T10" fmla="*/ 97 w 106"/>
                <a:gd name="T11" fmla="*/ 92 h 170"/>
                <a:gd name="T12" fmla="*/ 16 w 106"/>
                <a:gd name="T13" fmla="*/ 92 h 170"/>
                <a:gd name="T14" fmla="*/ 16 w 106"/>
                <a:gd name="T15" fmla="*/ 156 h 170"/>
                <a:gd name="T16" fmla="*/ 106 w 106"/>
                <a:gd name="T17" fmla="*/ 156 h 170"/>
                <a:gd name="T18" fmla="*/ 106 w 106"/>
                <a:gd name="T19" fmla="*/ 170 h 170"/>
                <a:gd name="T20" fmla="*/ 0 w 106"/>
                <a:gd name="T21" fmla="*/ 170 h 170"/>
                <a:gd name="T22" fmla="*/ 0 w 106"/>
                <a:gd name="T23" fmla="*/ 0 h 170"/>
                <a:gd name="T24" fmla="*/ 101 w 106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70">
                  <a:moveTo>
                    <a:pt x="101" y="0"/>
                  </a:moveTo>
                  <a:lnTo>
                    <a:pt x="101" y="17"/>
                  </a:lnTo>
                  <a:lnTo>
                    <a:pt x="16" y="17"/>
                  </a:lnTo>
                  <a:lnTo>
                    <a:pt x="16" y="76"/>
                  </a:lnTo>
                  <a:lnTo>
                    <a:pt x="97" y="76"/>
                  </a:lnTo>
                  <a:lnTo>
                    <a:pt x="97" y="92"/>
                  </a:lnTo>
                  <a:lnTo>
                    <a:pt x="16" y="92"/>
                  </a:lnTo>
                  <a:lnTo>
                    <a:pt x="16" y="156"/>
                  </a:lnTo>
                  <a:lnTo>
                    <a:pt x="106" y="156"/>
                  </a:lnTo>
                  <a:lnTo>
                    <a:pt x="10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8" name="Freeform 32"/>
            <p:cNvSpPr>
              <a:spLocks/>
            </p:cNvSpPr>
            <p:nvPr userDrawn="1"/>
          </p:nvSpPr>
          <p:spPr bwMode="auto">
            <a:xfrm>
              <a:off x="11009313" y="2070100"/>
              <a:ext cx="165100" cy="269875"/>
            </a:xfrm>
            <a:custGeom>
              <a:avLst/>
              <a:gdLst>
                <a:gd name="T0" fmla="*/ 101 w 104"/>
                <a:gd name="T1" fmla="*/ 0 h 170"/>
                <a:gd name="T2" fmla="*/ 101 w 104"/>
                <a:gd name="T3" fmla="*/ 17 h 170"/>
                <a:gd name="T4" fmla="*/ 16 w 104"/>
                <a:gd name="T5" fmla="*/ 17 h 170"/>
                <a:gd name="T6" fmla="*/ 16 w 104"/>
                <a:gd name="T7" fmla="*/ 76 h 170"/>
                <a:gd name="T8" fmla="*/ 96 w 104"/>
                <a:gd name="T9" fmla="*/ 76 h 170"/>
                <a:gd name="T10" fmla="*/ 96 w 104"/>
                <a:gd name="T11" fmla="*/ 92 h 170"/>
                <a:gd name="T12" fmla="*/ 16 w 104"/>
                <a:gd name="T13" fmla="*/ 92 h 170"/>
                <a:gd name="T14" fmla="*/ 16 w 104"/>
                <a:gd name="T15" fmla="*/ 156 h 170"/>
                <a:gd name="T16" fmla="*/ 104 w 104"/>
                <a:gd name="T17" fmla="*/ 156 h 170"/>
                <a:gd name="T18" fmla="*/ 104 w 104"/>
                <a:gd name="T19" fmla="*/ 170 h 170"/>
                <a:gd name="T20" fmla="*/ 0 w 104"/>
                <a:gd name="T21" fmla="*/ 170 h 170"/>
                <a:gd name="T22" fmla="*/ 0 w 104"/>
                <a:gd name="T23" fmla="*/ 0 h 170"/>
                <a:gd name="T24" fmla="*/ 101 w 104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70">
                  <a:moveTo>
                    <a:pt x="101" y="0"/>
                  </a:moveTo>
                  <a:lnTo>
                    <a:pt x="101" y="17"/>
                  </a:lnTo>
                  <a:lnTo>
                    <a:pt x="16" y="17"/>
                  </a:lnTo>
                  <a:lnTo>
                    <a:pt x="16" y="76"/>
                  </a:lnTo>
                  <a:lnTo>
                    <a:pt x="96" y="76"/>
                  </a:lnTo>
                  <a:lnTo>
                    <a:pt x="96" y="92"/>
                  </a:lnTo>
                  <a:lnTo>
                    <a:pt x="16" y="92"/>
                  </a:lnTo>
                  <a:lnTo>
                    <a:pt x="16" y="156"/>
                  </a:lnTo>
                  <a:lnTo>
                    <a:pt x="104" y="156"/>
                  </a:lnTo>
                  <a:lnTo>
                    <a:pt x="104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9" name="Freeform 33"/>
            <p:cNvSpPr>
              <a:spLocks noEditPoints="1"/>
            </p:cNvSpPr>
            <p:nvPr userDrawn="1"/>
          </p:nvSpPr>
          <p:spPr bwMode="auto">
            <a:xfrm>
              <a:off x="11244263" y="2074863"/>
              <a:ext cx="184150" cy="265113"/>
            </a:xfrm>
            <a:custGeom>
              <a:avLst/>
              <a:gdLst>
                <a:gd name="T0" fmla="*/ 27 w 49"/>
                <a:gd name="T1" fmla="*/ 0 h 71"/>
                <a:gd name="T2" fmla="*/ 42 w 49"/>
                <a:gd name="T3" fmla="*/ 6 h 71"/>
                <a:gd name="T4" fmla="*/ 46 w 49"/>
                <a:gd name="T5" fmla="*/ 17 h 71"/>
                <a:gd name="T6" fmla="*/ 44 w 49"/>
                <a:gd name="T7" fmla="*/ 29 h 71"/>
                <a:gd name="T8" fmla="*/ 35 w 49"/>
                <a:gd name="T9" fmla="*/ 34 h 71"/>
                <a:gd name="T10" fmla="*/ 39 w 49"/>
                <a:gd name="T11" fmla="*/ 35 h 71"/>
                <a:gd name="T12" fmla="*/ 41 w 49"/>
                <a:gd name="T13" fmla="*/ 37 h 71"/>
                <a:gd name="T14" fmla="*/ 42 w 49"/>
                <a:gd name="T15" fmla="*/ 37 h 71"/>
                <a:gd name="T16" fmla="*/ 42 w 49"/>
                <a:gd name="T17" fmla="*/ 38 h 71"/>
                <a:gd name="T18" fmla="*/ 42 w 49"/>
                <a:gd name="T19" fmla="*/ 38 h 71"/>
                <a:gd name="T20" fmla="*/ 43 w 49"/>
                <a:gd name="T21" fmla="*/ 38 h 71"/>
                <a:gd name="T22" fmla="*/ 45 w 49"/>
                <a:gd name="T23" fmla="*/ 45 h 71"/>
                <a:gd name="T24" fmla="*/ 46 w 49"/>
                <a:gd name="T25" fmla="*/ 55 h 71"/>
                <a:gd name="T26" fmla="*/ 46 w 49"/>
                <a:gd name="T27" fmla="*/ 55 h 71"/>
                <a:gd name="T28" fmla="*/ 46 w 49"/>
                <a:gd name="T29" fmla="*/ 56 h 71"/>
                <a:gd name="T30" fmla="*/ 47 w 49"/>
                <a:gd name="T31" fmla="*/ 65 h 71"/>
                <a:gd name="T32" fmla="*/ 49 w 49"/>
                <a:gd name="T33" fmla="*/ 71 h 71"/>
                <a:gd name="T34" fmla="*/ 42 w 49"/>
                <a:gd name="T35" fmla="*/ 71 h 71"/>
                <a:gd name="T36" fmla="*/ 40 w 49"/>
                <a:gd name="T37" fmla="*/ 66 h 71"/>
                <a:gd name="T38" fmla="*/ 39 w 49"/>
                <a:gd name="T39" fmla="*/ 58 h 71"/>
                <a:gd name="T40" fmla="*/ 39 w 49"/>
                <a:gd name="T41" fmla="*/ 56 h 71"/>
                <a:gd name="T42" fmla="*/ 39 w 49"/>
                <a:gd name="T43" fmla="*/ 55 h 71"/>
                <a:gd name="T44" fmla="*/ 36 w 49"/>
                <a:gd name="T45" fmla="*/ 42 h 71"/>
                <a:gd name="T46" fmla="*/ 28 w 49"/>
                <a:gd name="T47" fmla="*/ 37 h 71"/>
                <a:gd name="T48" fmla="*/ 7 w 49"/>
                <a:gd name="T49" fmla="*/ 37 h 71"/>
                <a:gd name="T50" fmla="*/ 7 w 49"/>
                <a:gd name="T51" fmla="*/ 71 h 71"/>
                <a:gd name="T52" fmla="*/ 0 w 49"/>
                <a:gd name="T53" fmla="*/ 71 h 71"/>
                <a:gd name="T54" fmla="*/ 0 w 49"/>
                <a:gd name="T55" fmla="*/ 0 h 71"/>
                <a:gd name="T56" fmla="*/ 27 w 49"/>
                <a:gd name="T57" fmla="*/ 0 h 71"/>
                <a:gd name="T58" fmla="*/ 7 w 49"/>
                <a:gd name="T59" fmla="*/ 31 h 71"/>
                <a:gd name="T60" fmla="*/ 24 w 49"/>
                <a:gd name="T61" fmla="*/ 31 h 71"/>
                <a:gd name="T62" fmla="*/ 35 w 49"/>
                <a:gd name="T63" fmla="*/ 28 h 71"/>
                <a:gd name="T64" fmla="*/ 40 w 49"/>
                <a:gd name="T65" fmla="*/ 18 h 71"/>
                <a:gd name="T66" fmla="*/ 36 w 49"/>
                <a:gd name="T67" fmla="*/ 9 h 71"/>
                <a:gd name="T68" fmla="*/ 23 w 49"/>
                <a:gd name="T69" fmla="*/ 6 h 71"/>
                <a:gd name="T70" fmla="*/ 7 w 49"/>
                <a:gd name="T71" fmla="*/ 6 h 71"/>
                <a:gd name="T72" fmla="*/ 7 w 49"/>
                <a:gd name="T73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71">
                  <a:moveTo>
                    <a:pt x="27" y="0"/>
                  </a:moveTo>
                  <a:cubicBezTo>
                    <a:pt x="34" y="0"/>
                    <a:pt x="39" y="2"/>
                    <a:pt x="42" y="6"/>
                  </a:cubicBezTo>
                  <a:cubicBezTo>
                    <a:pt x="45" y="9"/>
                    <a:pt x="46" y="13"/>
                    <a:pt x="46" y="17"/>
                  </a:cubicBezTo>
                  <a:cubicBezTo>
                    <a:pt x="46" y="22"/>
                    <a:pt x="45" y="26"/>
                    <a:pt x="44" y="29"/>
                  </a:cubicBezTo>
                  <a:cubicBezTo>
                    <a:pt x="42" y="31"/>
                    <a:pt x="39" y="33"/>
                    <a:pt x="35" y="34"/>
                  </a:cubicBezTo>
                  <a:cubicBezTo>
                    <a:pt x="37" y="34"/>
                    <a:pt x="38" y="34"/>
                    <a:pt x="39" y="35"/>
                  </a:cubicBezTo>
                  <a:cubicBezTo>
                    <a:pt x="40" y="35"/>
                    <a:pt x="40" y="36"/>
                    <a:pt x="41" y="37"/>
                  </a:cubicBezTo>
                  <a:cubicBezTo>
                    <a:pt x="41" y="37"/>
                    <a:pt x="41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3" y="38"/>
                    <a:pt x="43" y="38"/>
                  </a:cubicBezTo>
                  <a:cubicBezTo>
                    <a:pt x="44" y="40"/>
                    <a:pt x="45" y="42"/>
                    <a:pt x="45" y="45"/>
                  </a:cubicBezTo>
                  <a:cubicBezTo>
                    <a:pt x="45" y="48"/>
                    <a:pt x="46" y="52"/>
                    <a:pt x="46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9"/>
                    <a:pt x="47" y="62"/>
                    <a:pt x="47" y="65"/>
                  </a:cubicBezTo>
                  <a:cubicBezTo>
                    <a:pt x="47" y="68"/>
                    <a:pt x="48" y="70"/>
                    <a:pt x="49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1" y="70"/>
                    <a:pt x="40" y="68"/>
                    <a:pt x="40" y="66"/>
                  </a:cubicBezTo>
                  <a:cubicBezTo>
                    <a:pt x="40" y="63"/>
                    <a:pt x="39" y="61"/>
                    <a:pt x="39" y="58"/>
                  </a:cubicBezTo>
                  <a:cubicBezTo>
                    <a:pt x="39" y="58"/>
                    <a:pt x="39" y="57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8" y="50"/>
                    <a:pt x="38" y="46"/>
                    <a:pt x="36" y="42"/>
                  </a:cubicBezTo>
                  <a:cubicBezTo>
                    <a:pt x="35" y="39"/>
                    <a:pt x="32" y="37"/>
                    <a:pt x="28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7" y="0"/>
                  </a:lnTo>
                  <a:close/>
                  <a:moveTo>
                    <a:pt x="7" y="31"/>
                  </a:moveTo>
                  <a:cubicBezTo>
                    <a:pt x="24" y="31"/>
                    <a:pt x="24" y="31"/>
                    <a:pt x="24" y="31"/>
                  </a:cubicBezTo>
                  <a:cubicBezTo>
                    <a:pt x="29" y="31"/>
                    <a:pt x="32" y="30"/>
                    <a:pt x="35" y="28"/>
                  </a:cubicBezTo>
                  <a:cubicBezTo>
                    <a:pt x="38" y="26"/>
                    <a:pt x="40" y="23"/>
                    <a:pt x="40" y="18"/>
                  </a:cubicBezTo>
                  <a:cubicBezTo>
                    <a:pt x="40" y="14"/>
                    <a:pt x="38" y="11"/>
                    <a:pt x="36" y="9"/>
                  </a:cubicBezTo>
                  <a:cubicBezTo>
                    <a:pt x="33" y="7"/>
                    <a:pt x="29" y="6"/>
                    <a:pt x="23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0" name="Rectangle 34"/>
            <p:cNvSpPr>
              <a:spLocks noChangeArrowheads="1"/>
            </p:cNvSpPr>
            <p:nvPr userDrawn="1"/>
          </p:nvSpPr>
          <p:spPr bwMode="auto">
            <a:xfrm>
              <a:off x="11499851" y="2070100"/>
              <a:ext cx="26988" cy="2698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1" name="Freeform 35"/>
            <p:cNvSpPr>
              <a:spLocks/>
            </p:cNvSpPr>
            <p:nvPr userDrawn="1"/>
          </p:nvSpPr>
          <p:spPr bwMode="auto">
            <a:xfrm>
              <a:off x="11609388" y="2070100"/>
              <a:ext cx="201613" cy="269875"/>
            </a:xfrm>
            <a:custGeom>
              <a:avLst/>
              <a:gdLst>
                <a:gd name="T0" fmla="*/ 16 w 127"/>
                <a:gd name="T1" fmla="*/ 0 h 170"/>
                <a:gd name="T2" fmla="*/ 111 w 127"/>
                <a:gd name="T3" fmla="*/ 149 h 170"/>
                <a:gd name="T4" fmla="*/ 111 w 127"/>
                <a:gd name="T5" fmla="*/ 0 h 170"/>
                <a:gd name="T6" fmla="*/ 127 w 127"/>
                <a:gd name="T7" fmla="*/ 0 h 170"/>
                <a:gd name="T8" fmla="*/ 127 w 127"/>
                <a:gd name="T9" fmla="*/ 170 h 170"/>
                <a:gd name="T10" fmla="*/ 108 w 127"/>
                <a:gd name="T11" fmla="*/ 170 h 170"/>
                <a:gd name="T12" fmla="*/ 16 w 127"/>
                <a:gd name="T13" fmla="*/ 24 h 170"/>
                <a:gd name="T14" fmla="*/ 16 w 127"/>
                <a:gd name="T15" fmla="*/ 170 h 170"/>
                <a:gd name="T16" fmla="*/ 0 w 127"/>
                <a:gd name="T17" fmla="*/ 170 h 170"/>
                <a:gd name="T18" fmla="*/ 0 w 127"/>
                <a:gd name="T19" fmla="*/ 0 h 170"/>
                <a:gd name="T20" fmla="*/ 16 w 127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70">
                  <a:moveTo>
                    <a:pt x="16" y="0"/>
                  </a:moveTo>
                  <a:lnTo>
                    <a:pt x="111" y="149"/>
                  </a:lnTo>
                  <a:lnTo>
                    <a:pt x="111" y="0"/>
                  </a:lnTo>
                  <a:lnTo>
                    <a:pt x="127" y="0"/>
                  </a:lnTo>
                  <a:lnTo>
                    <a:pt x="127" y="170"/>
                  </a:lnTo>
                  <a:lnTo>
                    <a:pt x="108" y="170"/>
                  </a:lnTo>
                  <a:lnTo>
                    <a:pt x="16" y="24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Freeform 36"/>
            <p:cNvSpPr>
              <a:spLocks/>
            </p:cNvSpPr>
            <p:nvPr userDrawn="1"/>
          </p:nvSpPr>
          <p:spPr bwMode="auto">
            <a:xfrm>
              <a:off x="11871326" y="2070100"/>
              <a:ext cx="214313" cy="277813"/>
            </a:xfrm>
            <a:custGeom>
              <a:avLst/>
              <a:gdLst>
                <a:gd name="T0" fmla="*/ 57 w 57"/>
                <a:gd name="T1" fmla="*/ 35 h 74"/>
                <a:gd name="T2" fmla="*/ 57 w 57"/>
                <a:gd name="T3" fmla="*/ 69 h 74"/>
                <a:gd name="T4" fmla="*/ 52 w 57"/>
                <a:gd name="T5" fmla="*/ 71 h 74"/>
                <a:gd name="T6" fmla="*/ 46 w 57"/>
                <a:gd name="T7" fmla="*/ 73 h 74"/>
                <a:gd name="T8" fmla="*/ 40 w 57"/>
                <a:gd name="T9" fmla="*/ 73 h 74"/>
                <a:gd name="T10" fmla="*/ 34 w 57"/>
                <a:gd name="T11" fmla="*/ 74 h 74"/>
                <a:gd name="T12" fmla="*/ 9 w 57"/>
                <a:gd name="T13" fmla="*/ 63 h 74"/>
                <a:gd name="T14" fmla="*/ 0 w 57"/>
                <a:gd name="T15" fmla="*/ 36 h 74"/>
                <a:gd name="T16" fmla="*/ 1 w 57"/>
                <a:gd name="T17" fmla="*/ 30 h 74"/>
                <a:gd name="T18" fmla="*/ 2 w 57"/>
                <a:gd name="T19" fmla="*/ 24 h 74"/>
                <a:gd name="T20" fmla="*/ 12 w 57"/>
                <a:gd name="T21" fmla="*/ 7 h 74"/>
                <a:gd name="T22" fmla="*/ 32 w 57"/>
                <a:gd name="T23" fmla="*/ 0 h 74"/>
                <a:gd name="T24" fmla="*/ 49 w 57"/>
                <a:gd name="T25" fmla="*/ 5 h 74"/>
                <a:gd name="T26" fmla="*/ 56 w 57"/>
                <a:gd name="T27" fmla="*/ 18 h 74"/>
                <a:gd name="T28" fmla="*/ 49 w 57"/>
                <a:gd name="T29" fmla="*/ 18 h 74"/>
                <a:gd name="T30" fmla="*/ 45 w 57"/>
                <a:gd name="T31" fmla="*/ 11 h 74"/>
                <a:gd name="T32" fmla="*/ 38 w 57"/>
                <a:gd name="T33" fmla="*/ 7 h 74"/>
                <a:gd name="T34" fmla="*/ 34 w 57"/>
                <a:gd name="T35" fmla="*/ 6 h 74"/>
                <a:gd name="T36" fmla="*/ 32 w 57"/>
                <a:gd name="T37" fmla="*/ 6 h 74"/>
                <a:gd name="T38" fmla="*/ 14 w 57"/>
                <a:gd name="T39" fmla="*/ 15 h 74"/>
                <a:gd name="T40" fmla="*/ 8 w 57"/>
                <a:gd name="T41" fmla="*/ 36 h 74"/>
                <a:gd name="T42" fmla="*/ 15 w 57"/>
                <a:gd name="T43" fmla="*/ 59 h 74"/>
                <a:gd name="T44" fmla="*/ 29 w 57"/>
                <a:gd name="T45" fmla="*/ 67 h 74"/>
                <a:gd name="T46" fmla="*/ 31 w 57"/>
                <a:gd name="T47" fmla="*/ 67 h 74"/>
                <a:gd name="T48" fmla="*/ 34 w 57"/>
                <a:gd name="T49" fmla="*/ 67 h 74"/>
                <a:gd name="T50" fmla="*/ 38 w 57"/>
                <a:gd name="T51" fmla="*/ 67 h 74"/>
                <a:gd name="T52" fmla="*/ 42 w 57"/>
                <a:gd name="T53" fmla="*/ 67 h 74"/>
                <a:gd name="T54" fmla="*/ 46 w 57"/>
                <a:gd name="T55" fmla="*/ 66 h 74"/>
                <a:gd name="T56" fmla="*/ 50 w 57"/>
                <a:gd name="T57" fmla="*/ 64 h 74"/>
                <a:gd name="T58" fmla="*/ 50 w 57"/>
                <a:gd name="T59" fmla="*/ 42 h 74"/>
                <a:gd name="T60" fmla="*/ 32 w 57"/>
                <a:gd name="T61" fmla="*/ 42 h 74"/>
                <a:gd name="T62" fmla="*/ 32 w 57"/>
                <a:gd name="T63" fmla="*/ 35 h 74"/>
                <a:gd name="T64" fmla="*/ 57 w 57"/>
                <a:gd name="T65" fmla="*/ 3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" h="74">
                  <a:moveTo>
                    <a:pt x="57" y="35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6" y="70"/>
                    <a:pt x="54" y="71"/>
                    <a:pt x="52" y="71"/>
                  </a:cubicBezTo>
                  <a:cubicBezTo>
                    <a:pt x="50" y="72"/>
                    <a:pt x="48" y="72"/>
                    <a:pt x="46" y="73"/>
                  </a:cubicBezTo>
                  <a:cubicBezTo>
                    <a:pt x="44" y="73"/>
                    <a:pt x="42" y="73"/>
                    <a:pt x="40" y="73"/>
                  </a:cubicBezTo>
                  <a:cubicBezTo>
                    <a:pt x="38" y="73"/>
                    <a:pt x="36" y="74"/>
                    <a:pt x="34" y="74"/>
                  </a:cubicBezTo>
                  <a:cubicBezTo>
                    <a:pt x="23" y="74"/>
                    <a:pt x="15" y="70"/>
                    <a:pt x="9" y="63"/>
                  </a:cubicBezTo>
                  <a:cubicBezTo>
                    <a:pt x="3" y="56"/>
                    <a:pt x="0" y="47"/>
                    <a:pt x="0" y="36"/>
                  </a:cubicBezTo>
                  <a:cubicBezTo>
                    <a:pt x="0" y="34"/>
                    <a:pt x="1" y="32"/>
                    <a:pt x="1" y="30"/>
                  </a:cubicBezTo>
                  <a:cubicBezTo>
                    <a:pt x="1" y="28"/>
                    <a:pt x="2" y="26"/>
                    <a:pt x="2" y="24"/>
                  </a:cubicBezTo>
                  <a:cubicBezTo>
                    <a:pt x="4" y="18"/>
                    <a:pt x="7" y="12"/>
                    <a:pt x="12" y="7"/>
                  </a:cubicBezTo>
                  <a:cubicBezTo>
                    <a:pt x="17" y="2"/>
                    <a:pt x="23" y="0"/>
                    <a:pt x="32" y="0"/>
                  </a:cubicBezTo>
                  <a:cubicBezTo>
                    <a:pt x="39" y="0"/>
                    <a:pt x="44" y="2"/>
                    <a:pt x="49" y="5"/>
                  </a:cubicBezTo>
                  <a:cubicBezTo>
                    <a:pt x="54" y="9"/>
                    <a:pt x="56" y="13"/>
                    <a:pt x="56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8" y="15"/>
                    <a:pt x="47" y="13"/>
                    <a:pt x="45" y="11"/>
                  </a:cubicBezTo>
                  <a:cubicBezTo>
                    <a:pt x="42" y="9"/>
                    <a:pt x="40" y="8"/>
                    <a:pt x="38" y="7"/>
                  </a:cubicBezTo>
                  <a:cubicBezTo>
                    <a:pt x="37" y="7"/>
                    <a:pt x="35" y="6"/>
                    <a:pt x="34" y="6"/>
                  </a:cubicBezTo>
                  <a:cubicBezTo>
                    <a:pt x="33" y="6"/>
                    <a:pt x="32" y="6"/>
                    <a:pt x="32" y="6"/>
                  </a:cubicBezTo>
                  <a:cubicBezTo>
                    <a:pt x="24" y="6"/>
                    <a:pt x="18" y="9"/>
                    <a:pt x="14" y="15"/>
                  </a:cubicBezTo>
                  <a:cubicBezTo>
                    <a:pt x="10" y="21"/>
                    <a:pt x="8" y="28"/>
                    <a:pt x="8" y="36"/>
                  </a:cubicBezTo>
                  <a:cubicBezTo>
                    <a:pt x="8" y="47"/>
                    <a:pt x="10" y="55"/>
                    <a:pt x="15" y="59"/>
                  </a:cubicBezTo>
                  <a:cubicBezTo>
                    <a:pt x="19" y="64"/>
                    <a:pt x="24" y="66"/>
                    <a:pt x="29" y="67"/>
                  </a:cubicBezTo>
                  <a:cubicBezTo>
                    <a:pt x="30" y="67"/>
                    <a:pt x="30" y="67"/>
                    <a:pt x="31" y="67"/>
                  </a:cubicBezTo>
                  <a:cubicBezTo>
                    <a:pt x="32" y="67"/>
                    <a:pt x="33" y="67"/>
                    <a:pt x="34" y="67"/>
                  </a:cubicBezTo>
                  <a:cubicBezTo>
                    <a:pt x="35" y="67"/>
                    <a:pt x="36" y="67"/>
                    <a:pt x="38" y="67"/>
                  </a:cubicBezTo>
                  <a:cubicBezTo>
                    <a:pt x="39" y="67"/>
                    <a:pt x="41" y="67"/>
                    <a:pt x="42" y="67"/>
                  </a:cubicBezTo>
                  <a:cubicBezTo>
                    <a:pt x="44" y="67"/>
                    <a:pt x="45" y="66"/>
                    <a:pt x="46" y="66"/>
                  </a:cubicBezTo>
                  <a:cubicBezTo>
                    <a:pt x="48" y="65"/>
                    <a:pt x="49" y="65"/>
                    <a:pt x="50" y="64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35"/>
                    <a:pt x="32" y="35"/>
                    <a:pt x="32" y="35"/>
                  </a:cubicBezTo>
                  <a:lnTo>
                    <a:pt x="57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7" name="QAW_BGMotiv_170206_0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33282" r="2941" b="4985"/>
          <a:stretch/>
        </p:blipFill>
        <p:spPr bwMode="gray">
          <a:xfrm>
            <a:off x="0" y="2873524"/>
            <a:ext cx="16256000" cy="6272064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 bwMode="gray">
          <a:xfrm>
            <a:off x="13599907" y="530174"/>
            <a:ext cx="2160000" cy="1080000"/>
          </a:xfrm>
        </p:spPr>
        <p:txBody>
          <a:bodyPr/>
          <a:lstStyle>
            <a:lvl1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2pPr>
            <a:lvl3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3pPr>
            <a:lvl4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4pPr>
            <a:lvl5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5pPr>
            <a:lvl6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6pPr>
            <a:lvl7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7pPr>
            <a:lvl8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6728" y="7204525"/>
            <a:ext cx="9090631" cy="1535169"/>
          </a:xfrm>
        </p:spPr>
        <p:txBody>
          <a:bodyPr anchor="b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00854" y="3309898"/>
            <a:ext cx="13817600" cy="1960374"/>
          </a:xfrm>
        </p:spPr>
        <p:txBody>
          <a:bodyPr/>
          <a:lstStyle>
            <a:lvl1pPr>
              <a:lnSpc>
                <a:spcPts val="8000"/>
              </a:lnSpc>
              <a:spcAft>
                <a:spcPts val="3200"/>
              </a:spcAft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4"/>
          </p:nvPr>
        </p:nvSpPr>
        <p:spPr bwMode="gray">
          <a:xfrm>
            <a:off x="11563349" y="8324850"/>
            <a:ext cx="4210843" cy="414844"/>
          </a:xfrm>
        </p:spPr>
        <p:txBody>
          <a:bodyPr anchor="b"/>
          <a:lstStyle>
            <a:lvl1pPr marL="4763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9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598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agwo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88774" y="4418234"/>
            <a:ext cx="15368400" cy="1960374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800" b="1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949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58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048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1966" y="1388653"/>
            <a:ext cx="15296026" cy="72768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517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382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4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388653"/>
            <a:ext cx="8647903" cy="7276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1448593"/>
            <a:ext cx="6132980" cy="721685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930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 &amp; Bild (Numm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388653"/>
            <a:ext cx="8647903" cy="7276800"/>
          </a:xfrm>
        </p:spPr>
        <p:txBody>
          <a:bodyPr/>
          <a:lstStyle>
            <a:lvl1pPr>
              <a:defRPr/>
            </a:lvl1pPr>
            <a:lvl2pPr marL="396000" indent="-396000">
              <a:buFont typeface="+mj-lt"/>
              <a:buAutoNum type="arabicPeriod"/>
              <a:defRPr/>
            </a:lvl2pPr>
            <a:lvl3pPr marL="792000" indent="-396000">
              <a:buFont typeface="+mj-lt"/>
              <a:buAutoNum type="arabicPeriod"/>
              <a:defRPr/>
            </a:lvl3pPr>
            <a:lvl4pPr marL="1152000" indent="-432000">
              <a:buFont typeface="+mj-lt"/>
              <a:buAutoNum type="arabicPeriod"/>
              <a:defRPr/>
            </a:lvl4pPr>
            <a:lvl5pPr marL="1152000" indent="-432000">
              <a:buFont typeface="+mj-lt"/>
              <a:buAutoNum type="arabicPeriod"/>
              <a:defRPr/>
            </a:lvl5pPr>
            <a:lvl6pPr marL="1152000" indent="-432000">
              <a:buFont typeface="+mj-lt"/>
              <a:buAutoNum type="arabicPeriod"/>
              <a:defRPr/>
            </a:lvl6pPr>
            <a:lvl7pPr marL="1152000" indent="-432000">
              <a:buFont typeface="+mj-lt"/>
              <a:buAutoNum type="arabicPeriod"/>
              <a:defRPr/>
            </a:lvl7pPr>
            <a:lvl8pPr marL="1152000" indent="-432000">
              <a:buFont typeface="+mj-lt"/>
              <a:buAutoNum type="arabicPeriod"/>
              <a:defRPr/>
            </a:lvl8pPr>
            <a:lvl9pPr marL="1152000" indent="-432000">
              <a:buFont typeface="+mj-lt"/>
              <a:buAutoNum type="arabicPeriod"/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1448593"/>
            <a:ext cx="6132980" cy="72168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72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9594753" y="1388654"/>
            <a:ext cx="6163239" cy="7276800"/>
          </a:xfrm>
        </p:spPr>
        <p:txBody>
          <a:bodyPr/>
          <a:lstStyle>
            <a:lvl1pPr>
              <a:lnSpc>
                <a:spcPts val="2800"/>
              </a:lnSpc>
              <a:spcAft>
                <a:spcPts val="1200"/>
              </a:spcAft>
              <a:defRPr sz="2400" b="0"/>
            </a:lvl1pPr>
            <a:lvl2pPr marL="396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2"/>
              </a:buBlip>
              <a:defRPr sz="2400"/>
            </a:lvl2pPr>
            <a:lvl3pPr marL="792000" indent="-395288">
              <a:lnSpc>
                <a:spcPts val="2800"/>
              </a:lnSpc>
              <a:spcAft>
                <a:spcPts val="1200"/>
              </a:spcAft>
              <a:buFontTx/>
              <a:buBlip>
                <a:blip r:embed="rId3"/>
              </a:buBlip>
              <a:defRPr sz="2400"/>
            </a:lvl3pPr>
            <a:lvl4pPr marL="1152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4"/>
              </a:buBlip>
              <a:defRPr sz="2400"/>
            </a:lvl4pPr>
            <a:lvl5pPr>
              <a:lnSpc>
                <a:spcPts val="2800"/>
              </a:lnSpc>
              <a:spcAft>
                <a:spcPts val="1200"/>
              </a:spcAft>
              <a:defRPr sz="2400"/>
            </a:lvl5pPr>
            <a:lvl6pPr>
              <a:lnSpc>
                <a:spcPts val="2800"/>
              </a:lnSpc>
              <a:spcAft>
                <a:spcPts val="1200"/>
              </a:spcAft>
              <a:defRPr sz="2400"/>
            </a:lvl6pPr>
            <a:lvl7pPr>
              <a:lnSpc>
                <a:spcPts val="2800"/>
              </a:lnSpc>
              <a:spcAft>
                <a:spcPts val="1200"/>
              </a:spcAft>
              <a:defRPr sz="2400"/>
            </a:lvl7pPr>
            <a:lvl8pPr>
              <a:lnSpc>
                <a:spcPts val="2800"/>
              </a:lnSpc>
              <a:spcAft>
                <a:spcPts val="1200"/>
              </a:spcAft>
              <a:defRPr sz="2400"/>
            </a:lvl8pPr>
            <a:lvl9pPr>
              <a:lnSpc>
                <a:spcPts val="2800"/>
              </a:lnSpc>
              <a:spcAft>
                <a:spcPts val="1200"/>
              </a:spcAft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048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1448593"/>
            <a:ext cx="8616950" cy="72168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218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1" y="1448593"/>
            <a:ext cx="6152400" cy="7216859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7125486" y="1448593"/>
            <a:ext cx="6152400" cy="7216859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436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2" y="3886214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1448593"/>
            <a:ext cx="2340000" cy="23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120055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3136722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7"/>
          </p:nvPr>
        </p:nvSpPr>
        <p:spPr bwMode="gray">
          <a:xfrm>
            <a:off x="5763858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8"/>
          </p:nvPr>
        </p:nvSpPr>
        <p:spPr bwMode="gray">
          <a:xfrm>
            <a:off x="5780525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9"/>
          </p:nvPr>
        </p:nvSpPr>
        <p:spPr bwMode="gray">
          <a:xfrm>
            <a:off x="8407661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8424328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21"/>
          </p:nvPr>
        </p:nvSpPr>
        <p:spPr bwMode="gray">
          <a:xfrm>
            <a:off x="11051463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2"/>
          </p:nvPr>
        </p:nvSpPr>
        <p:spPr bwMode="gray">
          <a:xfrm>
            <a:off x="11068130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23"/>
          </p:nvPr>
        </p:nvSpPr>
        <p:spPr bwMode="gray">
          <a:xfrm>
            <a:off x="476252" y="7232099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Bildplatzhalter 7"/>
          <p:cNvSpPr>
            <a:spLocks noGrp="1"/>
          </p:cNvSpPr>
          <p:nvPr>
            <p:ph type="pic" sz="quarter" idx="24"/>
          </p:nvPr>
        </p:nvSpPr>
        <p:spPr bwMode="gray">
          <a:xfrm>
            <a:off x="492919" y="4794478"/>
            <a:ext cx="2340000" cy="23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5"/>
          </p:nvPr>
        </p:nvSpPr>
        <p:spPr bwMode="gray">
          <a:xfrm>
            <a:off x="3120055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Bildplatzhalter 7"/>
          <p:cNvSpPr>
            <a:spLocks noGrp="1"/>
          </p:cNvSpPr>
          <p:nvPr>
            <p:ph type="pic" sz="quarter" idx="26"/>
          </p:nvPr>
        </p:nvSpPr>
        <p:spPr bwMode="gray">
          <a:xfrm>
            <a:off x="3136722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27"/>
          </p:nvPr>
        </p:nvSpPr>
        <p:spPr bwMode="gray">
          <a:xfrm>
            <a:off x="5763858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4" name="Bildplatzhalter 7"/>
          <p:cNvSpPr>
            <a:spLocks noGrp="1"/>
          </p:cNvSpPr>
          <p:nvPr>
            <p:ph type="pic" sz="quarter" idx="28"/>
          </p:nvPr>
        </p:nvSpPr>
        <p:spPr bwMode="gray">
          <a:xfrm>
            <a:off x="5780525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9"/>
          </p:nvPr>
        </p:nvSpPr>
        <p:spPr bwMode="gray">
          <a:xfrm>
            <a:off x="8407661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Bildplatzhalter 7"/>
          <p:cNvSpPr>
            <a:spLocks noGrp="1"/>
          </p:cNvSpPr>
          <p:nvPr>
            <p:ph type="pic" sz="quarter" idx="30"/>
          </p:nvPr>
        </p:nvSpPr>
        <p:spPr bwMode="gray">
          <a:xfrm>
            <a:off x="8424328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31"/>
          </p:nvPr>
        </p:nvSpPr>
        <p:spPr bwMode="gray">
          <a:xfrm>
            <a:off x="11051463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Bildplatzhalter 7"/>
          <p:cNvSpPr>
            <a:spLocks noGrp="1"/>
          </p:cNvSpPr>
          <p:nvPr>
            <p:ph type="pic" sz="quarter" idx="32"/>
          </p:nvPr>
        </p:nvSpPr>
        <p:spPr bwMode="gray">
          <a:xfrm>
            <a:off x="11068130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854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Boxe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492918" y="1954975"/>
            <a:ext cx="7632000" cy="2495105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8126515" y="1954975"/>
            <a:ext cx="7632000" cy="2495105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492918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432000" indent="0">
              <a:lnSpc>
                <a:spcPts val="2000"/>
              </a:lnSpc>
              <a:spcAft>
                <a:spcPts val="1600"/>
              </a:spcAft>
              <a:buFontTx/>
              <a:buNone/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8126515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492918" y="1450975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 bwMode="gray">
          <a:xfrm>
            <a:off x="8126515" y="1450975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0"/>
          </p:nvPr>
        </p:nvSpPr>
        <p:spPr bwMode="gray">
          <a:xfrm>
            <a:off x="492918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1"/>
          </p:nvPr>
        </p:nvSpPr>
        <p:spPr bwMode="gray">
          <a:xfrm>
            <a:off x="8126515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56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1448178"/>
            <a:ext cx="15265073" cy="7217275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7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26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Cod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1448178"/>
            <a:ext cx="8616951" cy="7217275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9" cy="50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9594753" y="1388653"/>
            <a:ext cx="6163240" cy="7276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999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Nummerieru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467521" y="446087"/>
            <a:ext cx="15292579" cy="6921055"/>
          </a:xfrm>
        </p:spPr>
        <p:txBody>
          <a:bodyPr/>
          <a:lstStyle>
            <a:lvl1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chemeClr val="bg1"/>
                </a:solidFill>
              </a:defRPr>
            </a:lvl1pPr>
            <a:lvl2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2pPr>
            <a:lvl3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3pPr>
            <a:lvl4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4pPr>
            <a:lvl5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5pPr>
            <a:lvl6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6pPr>
            <a:lvl7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7pPr>
            <a:lvl8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8pPr>
            <a:lvl9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127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638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 (ausführl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2058194"/>
            <a:ext cx="2844000" cy="284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 bwMode="gray">
          <a:xfrm>
            <a:off x="462754" y="5215504"/>
            <a:ext cx="2874165" cy="3448800"/>
          </a:xfrm>
        </p:spPr>
        <p:txBody>
          <a:bodyPr/>
          <a:lstStyle>
            <a:lvl1pPr>
              <a:defRPr/>
            </a:lvl1pPr>
            <a:lvl2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3858412" y="2015326"/>
            <a:ext cx="1173600" cy="6648978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5129565" y="2015326"/>
            <a:ext cx="3977131" cy="6648978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0" name="Rechteck 19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25" name="Rechteck 24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27" name="Rechteck 26"/>
          <p:cNvSpPr/>
          <p:nvPr userDrawn="1"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28" name="Rechteck 27"/>
          <p:cNvSpPr/>
          <p:nvPr userDrawn="1"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9" name="Rechteck 28"/>
          <p:cNvSpPr/>
          <p:nvPr userDrawn="1"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</p:spTree>
    <p:extLst>
      <p:ext uri="{BB962C8B-B14F-4D97-AF65-F5344CB8AC3E}">
        <p14:creationId xmlns:p14="http://schemas.microsoft.com/office/powerpoint/2010/main" val="76724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91455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9646445" y="147378"/>
            <a:ext cx="6111546" cy="1892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9672534" y="2116135"/>
            <a:ext cx="6085457" cy="329599"/>
          </a:xfrm>
        </p:spPr>
        <p:txBody>
          <a:bodyPr/>
          <a:lstStyle>
            <a:lvl1pPr marL="3175" indent="0">
              <a:buFont typeface="Arial" panose="020B0604020202020204" pitchFamily="34" charset="0"/>
              <a:buNone/>
              <a:defRPr/>
            </a:lvl1pPr>
            <a:lvl2pPr marL="3175" indent="0">
              <a:buFont typeface="Arial" panose="020B0604020202020204" pitchFamily="34" charset="0"/>
              <a:buNone/>
              <a:defRPr/>
            </a:lvl2pPr>
            <a:lvl3pPr marL="3175" indent="0">
              <a:buFont typeface="Arial" panose="020B0604020202020204" pitchFamily="34" charset="0"/>
              <a:buNone/>
              <a:defRPr/>
            </a:lvl3pPr>
            <a:lvl4pPr marL="3175" indent="0">
              <a:buFont typeface="Arial" panose="020B0604020202020204" pitchFamily="34" charset="0"/>
              <a:buNone/>
              <a:defRPr/>
            </a:lvl4pPr>
            <a:lvl5pPr marL="3175" indent="0">
              <a:buFont typeface="Arial" panose="020B0604020202020204" pitchFamily="34" charset="0"/>
              <a:buNone/>
              <a:defRPr/>
            </a:lvl5pPr>
            <a:lvl6pPr marL="3175" indent="0">
              <a:buFont typeface="Arial" panose="020B0604020202020204" pitchFamily="34" charset="0"/>
              <a:buNone/>
              <a:defRPr/>
            </a:lvl6pPr>
            <a:lvl7pPr marL="3175" indent="0">
              <a:buFont typeface="Arial" panose="020B0604020202020204" pitchFamily="34" charset="0"/>
              <a:buNone/>
              <a:defRPr/>
            </a:lvl7pPr>
            <a:lvl8pPr marL="3175" indent="0">
              <a:buFont typeface="Arial" panose="020B0604020202020204" pitchFamily="34" charset="0"/>
              <a:buNone/>
              <a:defRPr/>
            </a:lvl8pPr>
            <a:lvl9pPr marL="3175" indent="0"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9684438" y="3068914"/>
            <a:ext cx="1172035" cy="4093886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10954027" y="3068914"/>
            <a:ext cx="4803964" cy="4093886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3pPr>
            <a:lvl4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4pPr>
            <a:lvl5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5pPr>
            <a:lvl6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9685340" y="7611884"/>
            <a:ext cx="6072651" cy="1116914"/>
          </a:xfrm>
        </p:spPr>
        <p:txBody>
          <a:bodyPr anchor="b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1pPr>
            <a:lvl2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625013" y="8829272"/>
            <a:ext cx="5821891" cy="17512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5493469" y="8829272"/>
            <a:ext cx="360000" cy="175124"/>
          </a:xfrm>
        </p:spPr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577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1966" y="1998254"/>
            <a:ext cx="15296026" cy="66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271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998253"/>
            <a:ext cx="8647903" cy="66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2058195"/>
            <a:ext cx="6132980" cy="660725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657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 &amp; Bild (Numm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998253"/>
            <a:ext cx="8647903" cy="6667200"/>
          </a:xfrm>
        </p:spPr>
        <p:txBody>
          <a:bodyPr/>
          <a:lstStyle>
            <a:lvl1pPr>
              <a:defRPr/>
            </a:lvl1pPr>
            <a:lvl2pPr marL="396000" indent="-396000">
              <a:buFont typeface="+mj-lt"/>
              <a:buAutoNum type="arabicPeriod"/>
              <a:defRPr/>
            </a:lvl2pPr>
            <a:lvl3pPr marL="792000" indent="-396000">
              <a:buFont typeface="+mj-lt"/>
              <a:buAutoNum type="arabicPeriod"/>
              <a:defRPr/>
            </a:lvl3pPr>
            <a:lvl4pPr marL="1152000" indent="-432000">
              <a:buFont typeface="+mj-lt"/>
              <a:buAutoNum type="arabicPeriod"/>
              <a:defRPr/>
            </a:lvl4pPr>
            <a:lvl5pPr marL="1152000" indent="-432000">
              <a:buFont typeface="+mj-lt"/>
              <a:buAutoNum type="arabicPeriod"/>
              <a:defRPr/>
            </a:lvl5pPr>
            <a:lvl6pPr marL="1152000" indent="-432000">
              <a:buFont typeface="+mj-lt"/>
              <a:buAutoNum type="arabicPeriod"/>
              <a:defRPr/>
            </a:lvl6pPr>
            <a:lvl7pPr marL="1152000" indent="-432000">
              <a:buFont typeface="+mj-lt"/>
              <a:buAutoNum type="arabicPeriod"/>
              <a:defRPr/>
            </a:lvl7pPr>
            <a:lvl8pPr marL="1152000" indent="-432000">
              <a:buFont typeface="+mj-lt"/>
              <a:buAutoNum type="arabicPeriod"/>
              <a:defRPr/>
            </a:lvl8pPr>
            <a:lvl9pPr marL="1152000" indent="-432000">
              <a:buFont typeface="+mj-lt"/>
              <a:buAutoNum type="arabicPeriod"/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2058195"/>
            <a:ext cx="6132980" cy="660725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369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9594753" y="1998253"/>
            <a:ext cx="6163239" cy="6667200"/>
          </a:xfrm>
        </p:spPr>
        <p:txBody>
          <a:bodyPr/>
          <a:lstStyle>
            <a:lvl1pPr>
              <a:lnSpc>
                <a:spcPts val="2800"/>
              </a:lnSpc>
              <a:spcAft>
                <a:spcPts val="1200"/>
              </a:spcAft>
              <a:defRPr sz="2400" b="0"/>
            </a:lvl1pPr>
            <a:lvl2pPr marL="396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2"/>
              </a:buBlip>
              <a:defRPr sz="2400"/>
            </a:lvl2pPr>
            <a:lvl3pPr marL="792000" indent="-395288">
              <a:lnSpc>
                <a:spcPts val="2800"/>
              </a:lnSpc>
              <a:spcAft>
                <a:spcPts val="1200"/>
              </a:spcAft>
              <a:buFontTx/>
              <a:buBlip>
                <a:blip r:embed="rId3"/>
              </a:buBlip>
              <a:defRPr sz="2400"/>
            </a:lvl3pPr>
            <a:lvl4pPr marL="1152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4"/>
              </a:buBlip>
              <a:defRPr sz="2400"/>
            </a:lvl4pPr>
            <a:lvl5pPr>
              <a:lnSpc>
                <a:spcPts val="2800"/>
              </a:lnSpc>
              <a:spcAft>
                <a:spcPts val="1200"/>
              </a:spcAft>
              <a:defRPr sz="2400"/>
            </a:lvl5pPr>
            <a:lvl6pPr>
              <a:lnSpc>
                <a:spcPts val="2800"/>
              </a:lnSpc>
              <a:spcAft>
                <a:spcPts val="1200"/>
              </a:spcAft>
              <a:defRPr sz="2400"/>
            </a:lvl6pPr>
            <a:lvl7pPr>
              <a:lnSpc>
                <a:spcPts val="2800"/>
              </a:lnSpc>
              <a:spcAft>
                <a:spcPts val="1200"/>
              </a:spcAft>
              <a:defRPr sz="2400"/>
            </a:lvl7pPr>
            <a:lvl8pPr>
              <a:lnSpc>
                <a:spcPts val="2800"/>
              </a:lnSpc>
              <a:spcAft>
                <a:spcPts val="1200"/>
              </a:spcAft>
              <a:defRPr sz="2400"/>
            </a:lvl8pPr>
            <a:lvl9pPr>
              <a:lnSpc>
                <a:spcPts val="2800"/>
              </a:lnSpc>
              <a:spcAft>
                <a:spcPts val="1200"/>
              </a:spcAft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2058195"/>
            <a:ext cx="8616950" cy="660725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57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1" y="2014919"/>
            <a:ext cx="6152400" cy="6650533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7125486" y="2014919"/>
            <a:ext cx="6152400" cy="6650533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088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2" y="4189427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2057806"/>
            <a:ext cx="2340000" cy="203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120055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3136722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 bwMode="gray">
          <a:xfrm>
            <a:off x="5763858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8"/>
          </p:nvPr>
        </p:nvSpPr>
        <p:spPr bwMode="gray">
          <a:xfrm>
            <a:off x="5780525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9"/>
          </p:nvPr>
        </p:nvSpPr>
        <p:spPr bwMode="gray">
          <a:xfrm>
            <a:off x="8407661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8424328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1"/>
          </p:nvPr>
        </p:nvSpPr>
        <p:spPr bwMode="gray">
          <a:xfrm>
            <a:off x="11051463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7"/>
          <p:cNvSpPr>
            <a:spLocks noGrp="1"/>
          </p:cNvSpPr>
          <p:nvPr>
            <p:ph type="pic" sz="quarter" idx="22"/>
          </p:nvPr>
        </p:nvSpPr>
        <p:spPr bwMode="gray">
          <a:xfrm>
            <a:off x="11068130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3"/>
          </p:nvPr>
        </p:nvSpPr>
        <p:spPr bwMode="gray">
          <a:xfrm>
            <a:off x="476252" y="7232099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Bildplatzhalter 7"/>
          <p:cNvSpPr>
            <a:spLocks noGrp="1"/>
          </p:cNvSpPr>
          <p:nvPr>
            <p:ph type="pic" sz="quarter" idx="24"/>
          </p:nvPr>
        </p:nvSpPr>
        <p:spPr bwMode="gray">
          <a:xfrm>
            <a:off x="492919" y="5100478"/>
            <a:ext cx="2340000" cy="203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5"/>
          </p:nvPr>
        </p:nvSpPr>
        <p:spPr bwMode="gray">
          <a:xfrm>
            <a:off x="3120055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26"/>
          </p:nvPr>
        </p:nvSpPr>
        <p:spPr bwMode="gray">
          <a:xfrm>
            <a:off x="3136722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7"/>
          </p:nvPr>
        </p:nvSpPr>
        <p:spPr bwMode="gray">
          <a:xfrm>
            <a:off x="5763858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28"/>
          </p:nvPr>
        </p:nvSpPr>
        <p:spPr bwMode="gray">
          <a:xfrm>
            <a:off x="5780525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9"/>
          </p:nvPr>
        </p:nvSpPr>
        <p:spPr bwMode="gray">
          <a:xfrm>
            <a:off x="8407661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Bildplatzhalter 7"/>
          <p:cNvSpPr>
            <a:spLocks noGrp="1"/>
          </p:cNvSpPr>
          <p:nvPr>
            <p:ph type="pic" sz="quarter" idx="30"/>
          </p:nvPr>
        </p:nvSpPr>
        <p:spPr bwMode="gray">
          <a:xfrm>
            <a:off x="8424328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31"/>
          </p:nvPr>
        </p:nvSpPr>
        <p:spPr bwMode="gray">
          <a:xfrm>
            <a:off x="11051463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Bildplatzhalter 7"/>
          <p:cNvSpPr>
            <a:spLocks noGrp="1"/>
          </p:cNvSpPr>
          <p:nvPr>
            <p:ph type="pic" sz="quarter" idx="32"/>
          </p:nvPr>
        </p:nvSpPr>
        <p:spPr bwMode="gray">
          <a:xfrm>
            <a:off x="11068130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315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Boxe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492918" y="2562194"/>
            <a:ext cx="7632000" cy="1887886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8126515" y="2562194"/>
            <a:ext cx="7632000" cy="1887886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492918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8126515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492918" y="2058194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 bwMode="gray">
          <a:xfrm>
            <a:off x="8126515" y="2058194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0"/>
          </p:nvPr>
        </p:nvSpPr>
        <p:spPr bwMode="gray">
          <a:xfrm>
            <a:off x="492918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1"/>
          </p:nvPr>
        </p:nvSpPr>
        <p:spPr bwMode="gray">
          <a:xfrm>
            <a:off x="8126515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994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Uhrze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2425700" y="446088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4" name="Textplatzhalter 1031"/>
          <p:cNvSpPr>
            <a:spLocks noGrp="1"/>
          </p:cNvSpPr>
          <p:nvPr>
            <p:ph type="body" sz="quarter" idx="14"/>
          </p:nvPr>
        </p:nvSpPr>
        <p:spPr bwMode="gray">
          <a:xfrm>
            <a:off x="466728" y="446088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Textplatzhalter 1031"/>
          <p:cNvSpPr>
            <a:spLocks noGrp="1"/>
          </p:cNvSpPr>
          <p:nvPr>
            <p:ph type="body" sz="quarter" idx="15"/>
          </p:nvPr>
        </p:nvSpPr>
        <p:spPr bwMode="gray">
          <a:xfrm>
            <a:off x="2425700" y="1360349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6" name="Textplatzhalter 1031"/>
          <p:cNvSpPr>
            <a:spLocks noGrp="1"/>
          </p:cNvSpPr>
          <p:nvPr>
            <p:ph type="body" sz="quarter" idx="16"/>
          </p:nvPr>
        </p:nvSpPr>
        <p:spPr bwMode="gray">
          <a:xfrm>
            <a:off x="466728" y="1360349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7" name="Textplatzhalter 1031"/>
          <p:cNvSpPr>
            <a:spLocks noGrp="1"/>
          </p:cNvSpPr>
          <p:nvPr>
            <p:ph type="body" sz="quarter" idx="17"/>
          </p:nvPr>
        </p:nvSpPr>
        <p:spPr bwMode="gray">
          <a:xfrm>
            <a:off x="2425700" y="2274610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8" name="Textplatzhalter 1031"/>
          <p:cNvSpPr>
            <a:spLocks noGrp="1"/>
          </p:cNvSpPr>
          <p:nvPr>
            <p:ph type="body" sz="quarter" idx="18"/>
          </p:nvPr>
        </p:nvSpPr>
        <p:spPr bwMode="gray">
          <a:xfrm>
            <a:off x="466728" y="2274610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9" name="Textplatzhalter 1031"/>
          <p:cNvSpPr>
            <a:spLocks noGrp="1"/>
          </p:cNvSpPr>
          <p:nvPr>
            <p:ph type="body" sz="quarter" idx="19"/>
          </p:nvPr>
        </p:nvSpPr>
        <p:spPr bwMode="gray">
          <a:xfrm>
            <a:off x="2425700" y="3188871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0" name="Textplatzhalter 1031"/>
          <p:cNvSpPr>
            <a:spLocks noGrp="1"/>
          </p:cNvSpPr>
          <p:nvPr>
            <p:ph type="body" sz="quarter" idx="20"/>
          </p:nvPr>
        </p:nvSpPr>
        <p:spPr bwMode="gray">
          <a:xfrm>
            <a:off x="466728" y="3188871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Textplatzhalter 1031"/>
          <p:cNvSpPr>
            <a:spLocks noGrp="1"/>
          </p:cNvSpPr>
          <p:nvPr>
            <p:ph type="body" sz="quarter" idx="21"/>
          </p:nvPr>
        </p:nvSpPr>
        <p:spPr bwMode="gray">
          <a:xfrm>
            <a:off x="2425700" y="4103132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2" name="Textplatzhalter 1031"/>
          <p:cNvSpPr>
            <a:spLocks noGrp="1"/>
          </p:cNvSpPr>
          <p:nvPr>
            <p:ph type="body" sz="quarter" idx="22"/>
          </p:nvPr>
        </p:nvSpPr>
        <p:spPr bwMode="gray">
          <a:xfrm>
            <a:off x="466728" y="4103132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3" name="Textplatzhalter 1031"/>
          <p:cNvSpPr>
            <a:spLocks noGrp="1"/>
          </p:cNvSpPr>
          <p:nvPr>
            <p:ph type="body" sz="quarter" idx="23"/>
          </p:nvPr>
        </p:nvSpPr>
        <p:spPr bwMode="gray">
          <a:xfrm>
            <a:off x="2425700" y="5017393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4" name="Textplatzhalter 1031"/>
          <p:cNvSpPr>
            <a:spLocks noGrp="1"/>
          </p:cNvSpPr>
          <p:nvPr>
            <p:ph type="body" sz="quarter" idx="24"/>
          </p:nvPr>
        </p:nvSpPr>
        <p:spPr bwMode="gray">
          <a:xfrm>
            <a:off x="466728" y="5017393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5" name="Textplatzhalter 1031"/>
          <p:cNvSpPr>
            <a:spLocks noGrp="1"/>
          </p:cNvSpPr>
          <p:nvPr>
            <p:ph type="body" sz="quarter" idx="25"/>
          </p:nvPr>
        </p:nvSpPr>
        <p:spPr bwMode="gray">
          <a:xfrm>
            <a:off x="2425700" y="5931654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1031"/>
          <p:cNvSpPr>
            <a:spLocks noGrp="1"/>
          </p:cNvSpPr>
          <p:nvPr>
            <p:ph type="body" sz="quarter" idx="26"/>
          </p:nvPr>
        </p:nvSpPr>
        <p:spPr bwMode="gray">
          <a:xfrm>
            <a:off x="466728" y="5931654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1031"/>
          <p:cNvSpPr>
            <a:spLocks noGrp="1"/>
          </p:cNvSpPr>
          <p:nvPr>
            <p:ph type="body" sz="quarter" idx="27"/>
          </p:nvPr>
        </p:nvSpPr>
        <p:spPr bwMode="gray">
          <a:xfrm>
            <a:off x="2425700" y="6845915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1031"/>
          <p:cNvSpPr>
            <a:spLocks noGrp="1"/>
          </p:cNvSpPr>
          <p:nvPr>
            <p:ph type="body" sz="quarter" idx="28"/>
          </p:nvPr>
        </p:nvSpPr>
        <p:spPr bwMode="gray">
          <a:xfrm>
            <a:off x="466728" y="6845915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50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2056608"/>
            <a:ext cx="15265073" cy="6608846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973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Cod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2056608"/>
            <a:ext cx="8616951" cy="6608845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9594753" y="1998253"/>
            <a:ext cx="6163240" cy="66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65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23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 &amp;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QAW_BGMotiv_170206_0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817" t="5000" r="2941" b="4773"/>
          <a:stretch/>
        </p:blipFill>
        <p:spPr bwMode="gray">
          <a:xfrm>
            <a:off x="-21432" y="0"/>
            <a:ext cx="16277431" cy="9166996"/>
          </a:xfrm>
          <a:prstGeom prst="rect">
            <a:avLst/>
          </a:prstGeom>
          <a:ln w="3175">
            <a:miter lim="400000"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6729" y="7204525"/>
            <a:ext cx="5883272" cy="1535169"/>
          </a:xfrm>
        </p:spPr>
        <p:txBody>
          <a:bodyPr anchor="b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6" name="Gruppieren 35"/>
          <p:cNvGrpSpPr/>
          <p:nvPr/>
        </p:nvGrpSpPr>
        <p:grpSpPr bwMode="gray">
          <a:xfrm>
            <a:off x="324654" y="345533"/>
            <a:ext cx="11913771" cy="3933393"/>
            <a:chOff x="-1449388" y="-4176713"/>
            <a:chExt cx="13819188" cy="4562476"/>
          </a:xfrm>
          <a:solidFill>
            <a:schemeClr val="bg1"/>
          </a:solidFill>
        </p:grpSpPr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-1449388" y="-4146550"/>
              <a:ext cx="4365625" cy="4487863"/>
            </a:xfrm>
            <a:custGeom>
              <a:avLst/>
              <a:gdLst>
                <a:gd name="T0" fmla="*/ 1164 w 1164"/>
                <a:gd name="T1" fmla="*/ 1182 h 1197"/>
                <a:gd name="T2" fmla="*/ 879 w 1164"/>
                <a:gd name="T3" fmla="*/ 1179 h 1197"/>
                <a:gd name="T4" fmla="*/ 692 w 1164"/>
                <a:gd name="T5" fmla="*/ 1187 h 1197"/>
                <a:gd name="T6" fmla="*/ 509 w 1164"/>
                <a:gd name="T7" fmla="*/ 1197 h 1197"/>
                <a:gd name="T8" fmla="*/ 0 w 1164"/>
                <a:gd name="T9" fmla="*/ 609 h 1197"/>
                <a:gd name="T10" fmla="*/ 557 w 1164"/>
                <a:gd name="T11" fmla="*/ 0 h 1197"/>
                <a:gd name="T12" fmla="*/ 1079 w 1164"/>
                <a:gd name="T13" fmla="*/ 582 h 1197"/>
                <a:gd name="T14" fmla="*/ 904 w 1164"/>
                <a:gd name="T15" fmla="*/ 1013 h 1197"/>
                <a:gd name="T16" fmla="*/ 1164 w 1164"/>
                <a:gd name="T17" fmla="*/ 1001 h 1197"/>
                <a:gd name="T18" fmla="*/ 1164 w 1164"/>
                <a:gd name="T19" fmla="*/ 1182 h 1197"/>
                <a:gd name="T20" fmla="*/ 540 w 1164"/>
                <a:gd name="T21" fmla="*/ 1017 h 1197"/>
                <a:gd name="T22" fmla="*/ 828 w 1164"/>
                <a:gd name="T23" fmla="*/ 579 h 1197"/>
                <a:gd name="T24" fmla="*/ 756 w 1164"/>
                <a:gd name="T25" fmla="*/ 283 h 1197"/>
                <a:gd name="T26" fmla="*/ 548 w 1164"/>
                <a:gd name="T27" fmla="*/ 176 h 1197"/>
                <a:gd name="T28" fmla="*/ 256 w 1164"/>
                <a:gd name="T29" fmla="*/ 595 h 1197"/>
                <a:gd name="T30" fmla="*/ 540 w 1164"/>
                <a:gd name="T31" fmla="*/ 1017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4" h="1197">
                  <a:moveTo>
                    <a:pt x="1164" y="1182"/>
                  </a:moveTo>
                  <a:cubicBezTo>
                    <a:pt x="1092" y="1181"/>
                    <a:pt x="954" y="1179"/>
                    <a:pt x="879" y="1179"/>
                  </a:cubicBezTo>
                  <a:cubicBezTo>
                    <a:pt x="850" y="1179"/>
                    <a:pt x="770" y="1184"/>
                    <a:pt x="692" y="1187"/>
                  </a:cubicBezTo>
                  <a:cubicBezTo>
                    <a:pt x="613" y="1192"/>
                    <a:pt x="536" y="1197"/>
                    <a:pt x="509" y="1197"/>
                  </a:cubicBezTo>
                  <a:cubicBezTo>
                    <a:pt x="77" y="1197"/>
                    <a:pt x="0" y="795"/>
                    <a:pt x="0" y="609"/>
                  </a:cubicBezTo>
                  <a:cubicBezTo>
                    <a:pt x="0" y="294"/>
                    <a:pt x="165" y="0"/>
                    <a:pt x="557" y="0"/>
                  </a:cubicBezTo>
                  <a:cubicBezTo>
                    <a:pt x="856" y="0"/>
                    <a:pt x="1079" y="203"/>
                    <a:pt x="1079" y="582"/>
                  </a:cubicBezTo>
                  <a:cubicBezTo>
                    <a:pt x="1079" y="845"/>
                    <a:pt x="959" y="961"/>
                    <a:pt x="904" y="1013"/>
                  </a:cubicBezTo>
                  <a:cubicBezTo>
                    <a:pt x="957" y="1003"/>
                    <a:pt x="1064" y="997"/>
                    <a:pt x="1164" y="1001"/>
                  </a:cubicBezTo>
                  <a:lnTo>
                    <a:pt x="1164" y="1182"/>
                  </a:lnTo>
                  <a:close/>
                  <a:moveTo>
                    <a:pt x="540" y="1017"/>
                  </a:moveTo>
                  <a:cubicBezTo>
                    <a:pt x="783" y="1017"/>
                    <a:pt x="828" y="765"/>
                    <a:pt x="828" y="579"/>
                  </a:cubicBezTo>
                  <a:cubicBezTo>
                    <a:pt x="828" y="414"/>
                    <a:pt x="791" y="336"/>
                    <a:pt x="756" y="283"/>
                  </a:cubicBezTo>
                  <a:cubicBezTo>
                    <a:pt x="727" y="238"/>
                    <a:pt x="660" y="176"/>
                    <a:pt x="548" y="176"/>
                  </a:cubicBezTo>
                  <a:cubicBezTo>
                    <a:pt x="330" y="176"/>
                    <a:pt x="256" y="384"/>
                    <a:pt x="256" y="595"/>
                  </a:cubicBezTo>
                  <a:cubicBezTo>
                    <a:pt x="256" y="758"/>
                    <a:pt x="304" y="1017"/>
                    <a:pt x="540" y="10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3395662" y="-4176713"/>
              <a:ext cx="4500563" cy="4562476"/>
            </a:xfrm>
            <a:custGeom>
              <a:avLst/>
              <a:gdLst>
                <a:gd name="T0" fmla="*/ 1094 w 1200"/>
                <a:gd name="T1" fmla="*/ 469 h 1217"/>
                <a:gd name="T2" fmla="*/ 964 w 1200"/>
                <a:gd name="T3" fmla="*/ 947 h 1217"/>
                <a:gd name="T4" fmla="*/ 1200 w 1200"/>
                <a:gd name="T5" fmla="*/ 1190 h 1217"/>
                <a:gd name="T6" fmla="*/ 900 w 1200"/>
                <a:gd name="T7" fmla="*/ 1190 h 1217"/>
                <a:gd name="T8" fmla="*/ 811 w 1200"/>
                <a:gd name="T9" fmla="*/ 1083 h 1217"/>
                <a:gd name="T10" fmla="*/ 436 w 1200"/>
                <a:gd name="T11" fmla="*/ 1217 h 1217"/>
                <a:gd name="T12" fmla="*/ 0 w 1200"/>
                <a:gd name="T13" fmla="*/ 869 h 1217"/>
                <a:gd name="T14" fmla="*/ 83 w 1200"/>
                <a:gd name="T15" fmla="*/ 641 h 1217"/>
                <a:gd name="T16" fmla="*/ 241 w 1200"/>
                <a:gd name="T17" fmla="*/ 507 h 1217"/>
                <a:gd name="T18" fmla="*/ 102 w 1200"/>
                <a:gd name="T19" fmla="*/ 262 h 1217"/>
                <a:gd name="T20" fmla="*/ 456 w 1200"/>
                <a:gd name="T21" fmla="*/ 0 h 1217"/>
                <a:gd name="T22" fmla="*/ 801 w 1200"/>
                <a:gd name="T23" fmla="*/ 253 h 1217"/>
                <a:gd name="T24" fmla="*/ 577 w 1200"/>
                <a:gd name="T25" fmla="*/ 552 h 1217"/>
                <a:gd name="T26" fmla="*/ 811 w 1200"/>
                <a:gd name="T27" fmla="*/ 787 h 1217"/>
                <a:gd name="T28" fmla="*/ 857 w 1200"/>
                <a:gd name="T29" fmla="*/ 469 h 1217"/>
                <a:gd name="T30" fmla="*/ 1094 w 1200"/>
                <a:gd name="T31" fmla="*/ 469 h 1217"/>
                <a:gd name="T32" fmla="*/ 374 w 1200"/>
                <a:gd name="T33" fmla="*/ 659 h 1217"/>
                <a:gd name="T34" fmla="*/ 249 w 1200"/>
                <a:gd name="T35" fmla="*/ 849 h 1217"/>
                <a:gd name="T36" fmla="*/ 452 w 1200"/>
                <a:gd name="T37" fmla="*/ 1041 h 1217"/>
                <a:gd name="T38" fmla="*/ 665 w 1200"/>
                <a:gd name="T39" fmla="*/ 955 h 1217"/>
                <a:gd name="T40" fmla="*/ 374 w 1200"/>
                <a:gd name="T41" fmla="*/ 659 h 1217"/>
                <a:gd name="T42" fmla="*/ 571 w 1200"/>
                <a:gd name="T43" fmla="*/ 259 h 1217"/>
                <a:gd name="T44" fmla="*/ 456 w 1200"/>
                <a:gd name="T45" fmla="*/ 153 h 1217"/>
                <a:gd name="T46" fmla="*/ 339 w 1200"/>
                <a:gd name="T47" fmla="*/ 256 h 1217"/>
                <a:gd name="T48" fmla="*/ 454 w 1200"/>
                <a:gd name="T49" fmla="*/ 427 h 1217"/>
                <a:gd name="T50" fmla="*/ 571 w 1200"/>
                <a:gd name="T51" fmla="*/ 259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0" h="1217">
                  <a:moveTo>
                    <a:pt x="1094" y="469"/>
                  </a:moveTo>
                  <a:cubicBezTo>
                    <a:pt x="1094" y="662"/>
                    <a:pt x="1060" y="795"/>
                    <a:pt x="964" y="947"/>
                  </a:cubicBezTo>
                  <a:cubicBezTo>
                    <a:pt x="1200" y="1190"/>
                    <a:pt x="1200" y="1190"/>
                    <a:pt x="1200" y="1190"/>
                  </a:cubicBezTo>
                  <a:cubicBezTo>
                    <a:pt x="900" y="1190"/>
                    <a:pt x="900" y="1190"/>
                    <a:pt x="900" y="1190"/>
                  </a:cubicBezTo>
                  <a:cubicBezTo>
                    <a:pt x="811" y="1083"/>
                    <a:pt x="811" y="1083"/>
                    <a:pt x="811" y="1083"/>
                  </a:cubicBezTo>
                  <a:cubicBezTo>
                    <a:pt x="737" y="1139"/>
                    <a:pt x="632" y="1217"/>
                    <a:pt x="436" y="1217"/>
                  </a:cubicBezTo>
                  <a:cubicBezTo>
                    <a:pt x="185" y="1217"/>
                    <a:pt x="0" y="1091"/>
                    <a:pt x="0" y="869"/>
                  </a:cubicBezTo>
                  <a:cubicBezTo>
                    <a:pt x="0" y="813"/>
                    <a:pt x="12" y="729"/>
                    <a:pt x="83" y="641"/>
                  </a:cubicBezTo>
                  <a:cubicBezTo>
                    <a:pt x="142" y="568"/>
                    <a:pt x="201" y="533"/>
                    <a:pt x="241" y="507"/>
                  </a:cubicBezTo>
                  <a:cubicBezTo>
                    <a:pt x="203" y="475"/>
                    <a:pt x="102" y="393"/>
                    <a:pt x="102" y="262"/>
                  </a:cubicBezTo>
                  <a:cubicBezTo>
                    <a:pt x="102" y="193"/>
                    <a:pt x="140" y="0"/>
                    <a:pt x="456" y="0"/>
                  </a:cubicBezTo>
                  <a:cubicBezTo>
                    <a:pt x="755" y="0"/>
                    <a:pt x="801" y="169"/>
                    <a:pt x="801" y="253"/>
                  </a:cubicBezTo>
                  <a:cubicBezTo>
                    <a:pt x="801" y="430"/>
                    <a:pt x="638" y="518"/>
                    <a:pt x="577" y="552"/>
                  </a:cubicBezTo>
                  <a:cubicBezTo>
                    <a:pt x="811" y="787"/>
                    <a:pt x="811" y="787"/>
                    <a:pt x="811" y="787"/>
                  </a:cubicBezTo>
                  <a:cubicBezTo>
                    <a:pt x="856" y="664"/>
                    <a:pt x="857" y="592"/>
                    <a:pt x="857" y="469"/>
                  </a:cubicBezTo>
                  <a:lnTo>
                    <a:pt x="1094" y="469"/>
                  </a:lnTo>
                  <a:close/>
                  <a:moveTo>
                    <a:pt x="374" y="659"/>
                  </a:moveTo>
                  <a:cubicBezTo>
                    <a:pt x="304" y="705"/>
                    <a:pt x="249" y="763"/>
                    <a:pt x="249" y="849"/>
                  </a:cubicBezTo>
                  <a:cubicBezTo>
                    <a:pt x="249" y="971"/>
                    <a:pt x="347" y="1041"/>
                    <a:pt x="452" y="1041"/>
                  </a:cubicBezTo>
                  <a:cubicBezTo>
                    <a:pt x="528" y="1041"/>
                    <a:pt x="612" y="998"/>
                    <a:pt x="665" y="955"/>
                  </a:cubicBezTo>
                  <a:lnTo>
                    <a:pt x="374" y="659"/>
                  </a:lnTo>
                  <a:close/>
                  <a:moveTo>
                    <a:pt x="571" y="259"/>
                  </a:moveTo>
                  <a:cubicBezTo>
                    <a:pt x="571" y="197"/>
                    <a:pt x="526" y="153"/>
                    <a:pt x="456" y="153"/>
                  </a:cubicBezTo>
                  <a:cubicBezTo>
                    <a:pt x="385" y="153"/>
                    <a:pt x="339" y="195"/>
                    <a:pt x="339" y="256"/>
                  </a:cubicBezTo>
                  <a:cubicBezTo>
                    <a:pt x="339" y="328"/>
                    <a:pt x="438" y="414"/>
                    <a:pt x="454" y="427"/>
                  </a:cubicBezTo>
                  <a:cubicBezTo>
                    <a:pt x="488" y="403"/>
                    <a:pt x="571" y="336"/>
                    <a:pt x="571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gray">
            <a:xfrm>
              <a:off x="8196262" y="-4064000"/>
              <a:ext cx="4173538" cy="4337051"/>
            </a:xfrm>
            <a:custGeom>
              <a:avLst/>
              <a:gdLst>
                <a:gd name="T0" fmla="*/ 1681 w 2629"/>
                <a:gd name="T1" fmla="*/ 0 h 2732"/>
                <a:gd name="T2" fmla="*/ 2629 w 2629"/>
                <a:gd name="T3" fmla="*/ 2732 h 2732"/>
                <a:gd name="T4" fmla="*/ 2040 w 2629"/>
                <a:gd name="T5" fmla="*/ 2732 h 2732"/>
                <a:gd name="T6" fmla="*/ 1842 w 2629"/>
                <a:gd name="T7" fmla="*/ 2142 h 2732"/>
                <a:gd name="T8" fmla="*/ 763 w 2629"/>
                <a:gd name="T9" fmla="*/ 2142 h 2732"/>
                <a:gd name="T10" fmla="*/ 557 w 2629"/>
                <a:gd name="T11" fmla="*/ 2732 h 2732"/>
                <a:gd name="T12" fmla="*/ 0 w 2629"/>
                <a:gd name="T13" fmla="*/ 2732 h 2732"/>
                <a:gd name="T14" fmla="*/ 985 w 2629"/>
                <a:gd name="T15" fmla="*/ 0 h 2732"/>
                <a:gd name="T16" fmla="*/ 1681 w 2629"/>
                <a:gd name="T17" fmla="*/ 0 h 2732"/>
                <a:gd name="T18" fmla="*/ 1696 w 2629"/>
                <a:gd name="T19" fmla="*/ 1700 h 2732"/>
                <a:gd name="T20" fmla="*/ 1318 w 2629"/>
                <a:gd name="T21" fmla="*/ 536 h 2732"/>
                <a:gd name="T22" fmla="*/ 914 w 2629"/>
                <a:gd name="T23" fmla="*/ 1700 h 2732"/>
                <a:gd name="T24" fmla="*/ 1696 w 2629"/>
                <a:gd name="T25" fmla="*/ 1700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29" h="2732">
                  <a:moveTo>
                    <a:pt x="1681" y="0"/>
                  </a:moveTo>
                  <a:lnTo>
                    <a:pt x="2629" y="2732"/>
                  </a:lnTo>
                  <a:lnTo>
                    <a:pt x="2040" y="2732"/>
                  </a:lnTo>
                  <a:lnTo>
                    <a:pt x="1842" y="2142"/>
                  </a:lnTo>
                  <a:lnTo>
                    <a:pt x="763" y="2142"/>
                  </a:lnTo>
                  <a:lnTo>
                    <a:pt x="557" y="2732"/>
                  </a:lnTo>
                  <a:lnTo>
                    <a:pt x="0" y="2732"/>
                  </a:lnTo>
                  <a:lnTo>
                    <a:pt x="985" y="0"/>
                  </a:lnTo>
                  <a:lnTo>
                    <a:pt x="1681" y="0"/>
                  </a:lnTo>
                  <a:close/>
                  <a:moveTo>
                    <a:pt x="1696" y="1700"/>
                  </a:moveTo>
                  <a:lnTo>
                    <a:pt x="1318" y="536"/>
                  </a:lnTo>
                  <a:lnTo>
                    <a:pt x="914" y="1700"/>
                  </a:lnTo>
                  <a:lnTo>
                    <a:pt x="1696" y="17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2" name="Textplatzhalter 33"/>
          <p:cNvSpPr>
            <a:spLocks noGrp="1"/>
          </p:cNvSpPr>
          <p:nvPr>
            <p:ph type="body" sz="quarter" idx="16"/>
          </p:nvPr>
        </p:nvSpPr>
        <p:spPr bwMode="gray">
          <a:xfrm>
            <a:off x="7677149" y="8326366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9" name="Bildplatzhalter 38"/>
          <p:cNvSpPr>
            <a:spLocks noGrp="1"/>
          </p:cNvSpPr>
          <p:nvPr>
            <p:ph type="pic" sz="quarter" idx="20"/>
          </p:nvPr>
        </p:nvSpPr>
        <p:spPr bwMode="gray">
          <a:xfrm>
            <a:off x="7030242" y="7299383"/>
            <a:ext cx="414000" cy="414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1" name="Textplatzhalter 33"/>
          <p:cNvSpPr>
            <a:spLocks noGrp="1"/>
          </p:cNvSpPr>
          <p:nvPr>
            <p:ph type="body" sz="quarter" idx="15"/>
          </p:nvPr>
        </p:nvSpPr>
        <p:spPr bwMode="gray">
          <a:xfrm>
            <a:off x="7677149" y="7810507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4" name="Textplatzhalter 33"/>
          <p:cNvSpPr>
            <a:spLocks noGrp="1"/>
          </p:cNvSpPr>
          <p:nvPr>
            <p:ph type="body" sz="quarter" idx="18"/>
          </p:nvPr>
        </p:nvSpPr>
        <p:spPr bwMode="gray">
          <a:xfrm>
            <a:off x="11865736" y="7810507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4"/>
          </p:nvPr>
        </p:nvSpPr>
        <p:spPr bwMode="gray">
          <a:xfrm>
            <a:off x="7677149" y="7298539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3" name="Textplatzhalter 33"/>
          <p:cNvSpPr>
            <a:spLocks noGrp="1"/>
          </p:cNvSpPr>
          <p:nvPr>
            <p:ph type="body" sz="quarter" idx="17"/>
          </p:nvPr>
        </p:nvSpPr>
        <p:spPr bwMode="gray">
          <a:xfrm>
            <a:off x="11865736" y="7298539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8" name="Bildplatzhalter 38"/>
          <p:cNvSpPr>
            <a:spLocks noGrp="1"/>
          </p:cNvSpPr>
          <p:nvPr>
            <p:ph type="pic" sz="quarter" idx="21"/>
          </p:nvPr>
        </p:nvSpPr>
        <p:spPr bwMode="gray">
          <a:xfrm>
            <a:off x="7030242" y="7811351"/>
            <a:ext cx="414000" cy="414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9" name="Bildplatzhalter 38"/>
          <p:cNvSpPr>
            <a:spLocks noGrp="1"/>
          </p:cNvSpPr>
          <p:nvPr>
            <p:ph type="pic" sz="quarter" idx="22"/>
          </p:nvPr>
        </p:nvSpPr>
        <p:spPr bwMode="gray">
          <a:xfrm>
            <a:off x="7030242" y="8327210"/>
            <a:ext cx="414000" cy="414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1" name="Bildplatzhalter 38"/>
          <p:cNvSpPr>
            <a:spLocks noGrp="1"/>
          </p:cNvSpPr>
          <p:nvPr>
            <p:ph type="pic" sz="quarter" idx="24"/>
          </p:nvPr>
        </p:nvSpPr>
        <p:spPr bwMode="gray">
          <a:xfrm>
            <a:off x="11218829" y="7299383"/>
            <a:ext cx="414000" cy="414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2" name="Bildplatzhalter 38"/>
          <p:cNvSpPr>
            <a:spLocks noGrp="1"/>
          </p:cNvSpPr>
          <p:nvPr>
            <p:ph type="pic" sz="quarter" idx="25"/>
          </p:nvPr>
        </p:nvSpPr>
        <p:spPr bwMode="gray">
          <a:xfrm>
            <a:off x="11218829" y="7811351"/>
            <a:ext cx="414000" cy="414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0" name="Bildplatzhalter 38"/>
          <p:cNvSpPr>
            <a:spLocks noGrp="1"/>
          </p:cNvSpPr>
          <p:nvPr>
            <p:ph type="pic" sz="quarter" idx="26"/>
          </p:nvPr>
        </p:nvSpPr>
        <p:spPr bwMode="gray">
          <a:xfrm>
            <a:off x="11218829" y="8327210"/>
            <a:ext cx="414000" cy="414000"/>
          </a:xfrm>
          <a:blipFill>
            <a:blip r:embed="rId8"/>
            <a:srcRect/>
            <a:stretch>
              <a:fillRect l="8445" t="750" r="8120" b="364"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33"/>
          <p:cNvSpPr>
            <a:spLocks noGrp="1"/>
          </p:cNvSpPr>
          <p:nvPr>
            <p:ph type="body" sz="quarter" idx="27"/>
          </p:nvPr>
        </p:nvSpPr>
        <p:spPr bwMode="gray">
          <a:xfrm>
            <a:off x="11865735" y="8326366"/>
            <a:ext cx="3893981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60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(Main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QAW_BGMotiv_170206_01.jpg"/>
          <p:cNvPicPr>
            <a:picLocks noChangeAspect="1"/>
          </p:cNvPicPr>
          <p:nvPr userDrawn="1"/>
        </p:nvPicPr>
        <p:blipFill rotWithShape="1">
          <a:blip r:embed="rId2">
            <a:extLst/>
          </a:blip>
          <a:srcRect l="2817" t="5000" r="2941" b="4773"/>
          <a:stretch/>
        </p:blipFill>
        <p:spPr bwMode="gray">
          <a:xfrm>
            <a:off x="-21432" y="0"/>
            <a:ext cx="16277431" cy="9166996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0" name="Untertitel 3"/>
          <p:cNvSpPr txBox="1">
            <a:spLocks/>
          </p:cNvSpPr>
          <p:nvPr/>
        </p:nvSpPr>
        <p:spPr bwMode="gray">
          <a:xfrm>
            <a:off x="473872" y="6689917"/>
            <a:ext cx="5883272" cy="204977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QAware</a:t>
            </a:r>
            <a:r>
              <a:rPr lang="de-DE" dirty="0"/>
              <a:t> GmbH Mainz</a:t>
            </a:r>
          </a:p>
          <a:p>
            <a:pPr lvl="1"/>
            <a:r>
              <a:rPr lang="de-DE" sz="2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heinstraße 4 D</a:t>
            </a:r>
            <a:endParaRPr lang="de-DE" dirty="0"/>
          </a:p>
          <a:p>
            <a:pPr lvl="1"/>
            <a:r>
              <a:rPr lang="de-DE" dirty="0"/>
              <a:t>55116 Mainz</a:t>
            </a:r>
          </a:p>
          <a:p>
            <a:pPr lvl="1" defTabSz="720000"/>
            <a:r>
              <a:rPr lang="de-DE" dirty="0"/>
              <a:t>Tel.:	+49 (0) 6131 215 69 – 0</a:t>
            </a:r>
          </a:p>
          <a:p>
            <a:pPr lvl="1" defTabSz="720000"/>
            <a:r>
              <a:rPr lang="de-DE" dirty="0"/>
              <a:t>Fax:	</a:t>
            </a:r>
            <a:r>
              <a:rPr lang="de-DE" baseline="0" dirty="0"/>
              <a:t>+49 (0) 6131 215 69 – 68</a:t>
            </a:r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FA9BE287-CBF2-450E-A6ED-530CD5970C3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6040" y="7299383"/>
            <a:ext cx="414000" cy="414000"/>
            <a:chOff x="-4779963" y="-6330900"/>
            <a:chExt cx="2959200" cy="2959200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271E3667-978D-47E6-824C-36403EA3438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-4779963" y="-6049220"/>
              <a:ext cx="2959200" cy="2395841"/>
            </a:xfrm>
            <a:custGeom>
              <a:avLst/>
              <a:gdLst>
                <a:gd name="T0" fmla="*/ 101 w 101"/>
                <a:gd name="T1" fmla="*/ 10 h 82"/>
                <a:gd name="T2" fmla="*/ 89 w 101"/>
                <a:gd name="T3" fmla="*/ 13 h 82"/>
                <a:gd name="T4" fmla="*/ 98 w 101"/>
                <a:gd name="T5" fmla="*/ 2 h 82"/>
                <a:gd name="T6" fmla="*/ 85 w 101"/>
                <a:gd name="T7" fmla="*/ 7 h 82"/>
                <a:gd name="T8" fmla="*/ 70 w 101"/>
                <a:gd name="T9" fmla="*/ 0 h 82"/>
                <a:gd name="T10" fmla="*/ 49 w 101"/>
                <a:gd name="T11" fmla="*/ 21 h 82"/>
                <a:gd name="T12" fmla="*/ 50 w 101"/>
                <a:gd name="T13" fmla="*/ 26 h 82"/>
                <a:gd name="T14" fmla="*/ 7 w 101"/>
                <a:gd name="T15" fmla="*/ 4 h 82"/>
                <a:gd name="T16" fmla="*/ 4 w 101"/>
                <a:gd name="T17" fmla="*/ 15 h 82"/>
                <a:gd name="T18" fmla="*/ 13 w 101"/>
                <a:gd name="T19" fmla="*/ 32 h 82"/>
                <a:gd name="T20" fmla="*/ 4 w 101"/>
                <a:gd name="T21" fmla="*/ 29 h 82"/>
                <a:gd name="T22" fmla="*/ 4 w 101"/>
                <a:gd name="T23" fmla="*/ 29 h 82"/>
                <a:gd name="T24" fmla="*/ 21 w 101"/>
                <a:gd name="T25" fmla="*/ 50 h 82"/>
                <a:gd name="T26" fmla="*/ 15 w 101"/>
                <a:gd name="T27" fmla="*/ 50 h 82"/>
                <a:gd name="T28" fmla="*/ 11 w 101"/>
                <a:gd name="T29" fmla="*/ 50 h 82"/>
                <a:gd name="T30" fmla="*/ 31 w 101"/>
                <a:gd name="T31" fmla="*/ 64 h 82"/>
                <a:gd name="T32" fmla="*/ 5 w 101"/>
                <a:gd name="T33" fmla="*/ 73 h 82"/>
                <a:gd name="T34" fmla="*/ 0 w 101"/>
                <a:gd name="T35" fmla="*/ 73 h 82"/>
                <a:gd name="T36" fmla="*/ 32 w 101"/>
                <a:gd name="T37" fmla="*/ 82 h 82"/>
                <a:gd name="T38" fmla="*/ 91 w 101"/>
                <a:gd name="T39" fmla="*/ 23 h 82"/>
                <a:gd name="T40" fmla="*/ 91 w 101"/>
                <a:gd name="T41" fmla="*/ 21 h 82"/>
                <a:gd name="T42" fmla="*/ 101 w 101"/>
                <a:gd name="T43" fmla="*/ 1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82">
                  <a:moveTo>
                    <a:pt x="101" y="10"/>
                  </a:moveTo>
                  <a:cubicBezTo>
                    <a:pt x="97" y="12"/>
                    <a:pt x="93" y="13"/>
                    <a:pt x="89" y="13"/>
                  </a:cubicBezTo>
                  <a:cubicBezTo>
                    <a:pt x="93" y="11"/>
                    <a:pt x="97" y="7"/>
                    <a:pt x="98" y="2"/>
                  </a:cubicBezTo>
                  <a:cubicBezTo>
                    <a:pt x="94" y="4"/>
                    <a:pt x="90" y="6"/>
                    <a:pt x="85" y="7"/>
                  </a:cubicBezTo>
                  <a:cubicBezTo>
                    <a:pt x="81" y="3"/>
                    <a:pt x="76" y="0"/>
                    <a:pt x="70" y="0"/>
                  </a:cubicBezTo>
                  <a:cubicBezTo>
                    <a:pt x="58" y="0"/>
                    <a:pt x="49" y="10"/>
                    <a:pt x="49" y="21"/>
                  </a:cubicBezTo>
                  <a:cubicBezTo>
                    <a:pt x="49" y="23"/>
                    <a:pt x="49" y="24"/>
                    <a:pt x="50" y="26"/>
                  </a:cubicBezTo>
                  <a:cubicBezTo>
                    <a:pt x="32" y="25"/>
                    <a:pt x="17" y="17"/>
                    <a:pt x="7" y="4"/>
                  </a:cubicBezTo>
                  <a:cubicBezTo>
                    <a:pt x="5" y="7"/>
                    <a:pt x="4" y="11"/>
                    <a:pt x="4" y="15"/>
                  </a:cubicBezTo>
                  <a:cubicBezTo>
                    <a:pt x="4" y="22"/>
                    <a:pt x="8" y="28"/>
                    <a:pt x="13" y="32"/>
                  </a:cubicBezTo>
                  <a:cubicBezTo>
                    <a:pt x="10" y="32"/>
                    <a:pt x="7" y="31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9"/>
                    <a:pt x="11" y="48"/>
                    <a:pt x="21" y="50"/>
                  </a:cubicBezTo>
                  <a:cubicBezTo>
                    <a:pt x="19" y="50"/>
                    <a:pt x="17" y="50"/>
                    <a:pt x="15" y="50"/>
                  </a:cubicBezTo>
                  <a:cubicBezTo>
                    <a:pt x="14" y="50"/>
                    <a:pt x="13" y="50"/>
                    <a:pt x="11" y="50"/>
                  </a:cubicBezTo>
                  <a:cubicBezTo>
                    <a:pt x="14" y="58"/>
                    <a:pt x="22" y="64"/>
                    <a:pt x="31" y="64"/>
                  </a:cubicBezTo>
                  <a:cubicBezTo>
                    <a:pt x="24" y="70"/>
                    <a:pt x="15" y="73"/>
                    <a:pt x="5" y="73"/>
                  </a:cubicBezTo>
                  <a:cubicBezTo>
                    <a:pt x="3" y="73"/>
                    <a:pt x="2" y="73"/>
                    <a:pt x="0" y="73"/>
                  </a:cubicBezTo>
                  <a:cubicBezTo>
                    <a:pt x="9" y="79"/>
                    <a:pt x="20" y="82"/>
                    <a:pt x="32" y="82"/>
                  </a:cubicBezTo>
                  <a:cubicBezTo>
                    <a:pt x="70" y="82"/>
                    <a:pt x="91" y="51"/>
                    <a:pt x="91" y="23"/>
                  </a:cubicBezTo>
                  <a:cubicBezTo>
                    <a:pt x="91" y="23"/>
                    <a:pt x="91" y="22"/>
                    <a:pt x="91" y="21"/>
                  </a:cubicBezTo>
                  <a:cubicBezTo>
                    <a:pt x="95" y="18"/>
                    <a:pt x="98" y="14"/>
                    <a:pt x="10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2A2474F-1207-4EE1-BE93-9B7B8F535669}"/>
                </a:ext>
              </a:extLst>
            </p:cNvPr>
            <p:cNvSpPr/>
            <p:nvPr/>
          </p:nvSpPr>
          <p:spPr bwMode="gray">
            <a:xfrm>
              <a:off x="-4779963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B3CE6AC2-BD33-4AE8-92CE-1FA7BAF979E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6053" y="8328120"/>
            <a:ext cx="414000" cy="414000"/>
            <a:chOff x="7714496" y="-6330900"/>
            <a:chExt cx="2959200" cy="2959200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71BEA8E5-FC84-4732-B57F-A6F2F1F05C3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931782" y="-6330900"/>
              <a:ext cx="2524628" cy="2959200"/>
              <a:chOff x="-47705963" y="-12906375"/>
              <a:chExt cx="31992888" cy="37499925"/>
            </a:xfrm>
            <a:solidFill>
              <a:schemeClr val="bg1"/>
            </a:solidFill>
          </p:grpSpPr>
          <p:sp>
            <p:nvSpPr>
              <p:cNvPr id="51" name="Freeform 38">
                <a:extLst>
                  <a:ext uri="{FF2B5EF4-FFF2-40B4-BE49-F238E27FC236}">
                    <a16:creationId xmlns:a16="http://schemas.microsoft.com/office/drawing/2014/main" id="{C4AF2EDA-960B-4ED3-B427-801EDF44ED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705963" y="-5500688"/>
                <a:ext cx="13579475" cy="18867438"/>
              </a:xfrm>
              <a:custGeom>
                <a:avLst/>
                <a:gdLst>
                  <a:gd name="T0" fmla="*/ 786 w 3621"/>
                  <a:gd name="T1" fmla="*/ 0 h 5031"/>
                  <a:gd name="T2" fmla="*/ 589 w 3621"/>
                  <a:gd name="T3" fmla="*/ 90 h 5031"/>
                  <a:gd name="T4" fmla="*/ 597 w 3621"/>
                  <a:gd name="T5" fmla="*/ 311 h 5031"/>
                  <a:gd name="T6" fmla="*/ 1572 w 3621"/>
                  <a:gd name="T7" fmla="*/ 1999 h 5031"/>
                  <a:gd name="T8" fmla="*/ 1572 w 3621"/>
                  <a:gd name="T9" fmla="*/ 2008 h 5031"/>
                  <a:gd name="T10" fmla="*/ 40 w 3621"/>
                  <a:gd name="T11" fmla="*/ 4712 h 5031"/>
                  <a:gd name="T12" fmla="*/ 40 w 3621"/>
                  <a:gd name="T13" fmla="*/ 4933 h 5031"/>
                  <a:gd name="T14" fmla="*/ 229 w 3621"/>
                  <a:gd name="T15" fmla="*/ 5031 h 5031"/>
                  <a:gd name="T16" fmla="*/ 1671 w 3621"/>
                  <a:gd name="T17" fmla="*/ 5031 h 5031"/>
                  <a:gd name="T18" fmla="*/ 2064 w 3621"/>
                  <a:gd name="T19" fmla="*/ 4753 h 5031"/>
                  <a:gd name="T20" fmla="*/ 3621 w 3621"/>
                  <a:gd name="T21" fmla="*/ 1999 h 5031"/>
                  <a:gd name="T22" fmla="*/ 2630 w 3621"/>
                  <a:gd name="T23" fmla="*/ 270 h 5031"/>
                  <a:gd name="T24" fmla="*/ 2228 w 3621"/>
                  <a:gd name="T25" fmla="*/ 0 h 5031"/>
                  <a:gd name="T26" fmla="*/ 786 w 3621"/>
                  <a:gd name="T27" fmla="*/ 0 h 5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21" h="5031">
                    <a:moveTo>
                      <a:pt x="786" y="0"/>
                    </a:moveTo>
                    <a:cubicBezTo>
                      <a:pt x="699" y="0"/>
                      <a:pt x="626" y="31"/>
                      <a:pt x="589" y="90"/>
                    </a:cubicBezTo>
                    <a:cubicBezTo>
                      <a:pt x="551" y="152"/>
                      <a:pt x="557" y="231"/>
                      <a:pt x="597" y="311"/>
                    </a:cubicBezTo>
                    <a:cubicBezTo>
                      <a:pt x="1572" y="1999"/>
                      <a:pt x="1572" y="1999"/>
                      <a:pt x="1572" y="1999"/>
                    </a:cubicBezTo>
                    <a:cubicBezTo>
                      <a:pt x="1574" y="2003"/>
                      <a:pt x="1574" y="2005"/>
                      <a:pt x="1572" y="2008"/>
                    </a:cubicBezTo>
                    <a:cubicBezTo>
                      <a:pt x="40" y="4712"/>
                      <a:pt x="40" y="4712"/>
                      <a:pt x="40" y="4712"/>
                    </a:cubicBezTo>
                    <a:cubicBezTo>
                      <a:pt x="0" y="4791"/>
                      <a:pt x="2" y="4871"/>
                      <a:pt x="40" y="4933"/>
                    </a:cubicBezTo>
                    <a:cubicBezTo>
                      <a:pt x="77" y="4992"/>
                      <a:pt x="142" y="5031"/>
                      <a:pt x="229" y="5031"/>
                    </a:cubicBezTo>
                    <a:cubicBezTo>
                      <a:pt x="1671" y="5031"/>
                      <a:pt x="1671" y="5031"/>
                      <a:pt x="1671" y="5031"/>
                    </a:cubicBezTo>
                    <a:cubicBezTo>
                      <a:pt x="1886" y="5031"/>
                      <a:pt x="1990" y="4886"/>
                      <a:pt x="2064" y="4753"/>
                    </a:cubicBezTo>
                    <a:cubicBezTo>
                      <a:pt x="2064" y="4753"/>
                      <a:pt x="3563" y="2102"/>
                      <a:pt x="3621" y="1999"/>
                    </a:cubicBezTo>
                    <a:cubicBezTo>
                      <a:pt x="3615" y="1990"/>
                      <a:pt x="2630" y="270"/>
                      <a:pt x="2630" y="270"/>
                    </a:cubicBezTo>
                    <a:cubicBezTo>
                      <a:pt x="2558" y="143"/>
                      <a:pt x="2449" y="0"/>
                      <a:pt x="2228" y="0"/>
                    </a:cubicBezTo>
                    <a:cubicBezTo>
                      <a:pt x="786" y="0"/>
                      <a:pt x="786" y="0"/>
                      <a:pt x="78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" name="Freeform 39">
                <a:extLst>
                  <a:ext uri="{FF2B5EF4-FFF2-40B4-BE49-F238E27FC236}">
                    <a16:creationId xmlns:a16="http://schemas.microsoft.com/office/drawing/2014/main" id="{875BEB92-A251-489C-94E8-6B3F38194D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5521900" y="-12906375"/>
                <a:ext cx="19808825" cy="37499925"/>
              </a:xfrm>
              <a:custGeom>
                <a:avLst/>
                <a:gdLst>
                  <a:gd name="T0" fmla="*/ 3596 w 5282"/>
                  <a:gd name="T1" fmla="*/ 0 h 10000"/>
                  <a:gd name="T2" fmla="*/ 3210 w 5282"/>
                  <a:gd name="T3" fmla="*/ 275 h 10000"/>
                  <a:gd name="T4" fmla="*/ 0 w 5282"/>
                  <a:gd name="T5" fmla="*/ 5966 h 10000"/>
                  <a:gd name="T6" fmla="*/ 2049 w 5282"/>
                  <a:gd name="T7" fmla="*/ 9725 h 10000"/>
                  <a:gd name="T8" fmla="*/ 2452 w 5282"/>
                  <a:gd name="T9" fmla="*/ 10000 h 10000"/>
                  <a:gd name="T10" fmla="*/ 3893 w 5282"/>
                  <a:gd name="T11" fmla="*/ 10000 h 10000"/>
                  <a:gd name="T12" fmla="*/ 4084 w 5282"/>
                  <a:gd name="T13" fmla="*/ 9908 h 10000"/>
                  <a:gd name="T14" fmla="*/ 4081 w 5282"/>
                  <a:gd name="T15" fmla="*/ 9685 h 10000"/>
                  <a:gd name="T16" fmla="*/ 2048 w 5282"/>
                  <a:gd name="T17" fmla="*/ 5970 h 10000"/>
                  <a:gd name="T18" fmla="*/ 2048 w 5282"/>
                  <a:gd name="T19" fmla="*/ 5961 h 10000"/>
                  <a:gd name="T20" fmla="*/ 5241 w 5282"/>
                  <a:gd name="T21" fmla="*/ 315 h 10000"/>
                  <a:gd name="T22" fmla="*/ 5244 w 5282"/>
                  <a:gd name="T23" fmla="*/ 92 h 10000"/>
                  <a:gd name="T24" fmla="*/ 5053 w 5282"/>
                  <a:gd name="T25" fmla="*/ 0 h 10000"/>
                  <a:gd name="T26" fmla="*/ 3596 w 5282"/>
                  <a:gd name="T27" fmla="*/ 0 h 10000"/>
                  <a:gd name="T28" fmla="*/ 3596 w 5282"/>
                  <a:gd name="T29" fmla="*/ 0 h 10000"/>
                  <a:gd name="T30" fmla="*/ 3596 w 5282"/>
                  <a:gd name="T31" fmla="*/ 0 h 10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82" h="10000">
                    <a:moveTo>
                      <a:pt x="3596" y="0"/>
                    </a:moveTo>
                    <a:cubicBezTo>
                      <a:pt x="3380" y="0"/>
                      <a:pt x="3287" y="136"/>
                      <a:pt x="3210" y="275"/>
                    </a:cubicBezTo>
                    <a:cubicBezTo>
                      <a:pt x="3210" y="275"/>
                      <a:pt x="103" y="5785"/>
                      <a:pt x="0" y="5966"/>
                    </a:cubicBezTo>
                    <a:cubicBezTo>
                      <a:pt x="5" y="5975"/>
                      <a:pt x="2049" y="9725"/>
                      <a:pt x="2049" y="9725"/>
                    </a:cubicBezTo>
                    <a:cubicBezTo>
                      <a:pt x="2121" y="9853"/>
                      <a:pt x="2231" y="10000"/>
                      <a:pt x="2452" y="10000"/>
                    </a:cubicBezTo>
                    <a:cubicBezTo>
                      <a:pt x="3893" y="10000"/>
                      <a:pt x="3893" y="10000"/>
                      <a:pt x="3893" y="10000"/>
                    </a:cubicBezTo>
                    <a:cubicBezTo>
                      <a:pt x="3980" y="10000"/>
                      <a:pt x="4048" y="9967"/>
                      <a:pt x="4084" y="9908"/>
                    </a:cubicBezTo>
                    <a:cubicBezTo>
                      <a:pt x="4123" y="9846"/>
                      <a:pt x="4122" y="9765"/>
                      <a:pt x="4081" y="9685"/>
                    </a:cubicBezTo>
                    <a:cubicBezTo>
                      <a:pt x="2048" y="5970"/>
                      <a:pt x="2048" y="5970"/>
                      <a:pt x="2048" y="5970"/>
                    </a:cubicBezTo>
                    <a:cubicBezTo>
                      <a:pt x="2046" y="5967"/>
                      <a:pt x="2046" y="5964"/>
                      <a:pt x="2048" y="5961"/>
                    </a:cubicBezTo>
                    <a:cubicBezTo>
                      <a:pt x="5241" y="315"/>
                      <a:pt x="5241" y="315"/>
                      <a:pt x="5241" y="315"/>
                    </a:cubicBezTo>
                    <a:cubicBezTo>
                      <a:pt x="5281" y="235"/>
                      <a:pt x="5282" y="154"/>
                      <a:pt x="5244" y="92"/>
                    </a:cubicBezTo>
                    <a:cubicBezTo>
                      <a:pt x="5208" y="33"/>
                      <a:pt x="5139" y="0"/>
                      <a:pt x="5053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929EF504-4C9B-4405-B515-3B5B6C68E179}"/>
                </a:ext>
              </a:extLst>
            </p:cNvPr>
            <p:cNvSpPr/>
            <p:nvPr/>
          </p:nvSpPr>
          <p:spPr bwMode="gray">
            <a:xfrm>
              <a:off x="7714496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A51F06AC-5BA5-475A-A046-D476369E9F5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503639" y="7811351"/>
            <a:ext cx="414000" cy="414000"/>
            <a:chOff x="12597120" y="-6330900"/>
            <a:chExt cx="2959200" cy="2959200"/>
          </a:xfrm>
        </p:grpSpPr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448AEE23-BCFC-4C3F-84E1-0FB7BFAA7F3C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2597120" y="-5830347"/>
              <a:ext cx="2959200" cy="1958094"/>
              <a:chOff x="-4948238" y="12076113"/>
              <a:chExt cx="1384300" cy="915987"/>
            </a:xfrm>
            <a:solidFill>
              <a:schemeClr val="bg1"/>
            </a:solidFill>
          </p:grpSpPr>
          <p:sp>
            <p:nvSpPr>
              <p:cNvPr id="84" name="Freeform 31">
                <a:extLst>
                  <a:ext uri="{FF2B5EF4-FFF2-40B4-BE49-F238E27FC236}">
                    <a16:creationId xmlns:a16="http://schemas.microsoft.com/office/drawing/2014/main" id="{67CE19DE-EAAA-46D1-B85F-C286803F58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48238" y="12279313"/>
                <a:ext cx="1384300" cy="712787"/>
              </a:xfrm>
              <a:custGeom>
                <a:avLst/>
                <a:gdLst>
                  <a:gd name="T0" fmla="*/ 356 w 369"/>
                  <a:gd name="T1" fmla="*/ 29 h 190"/>
                  <a:gd name="T2" fmla="*/ 286 w 369"/>
                  <a:gd name="T3" fmla="*/ 78 h 190"/>
                  <a:gd name="T4" fmla="*/ 286 w 369"/>
                  <a:gd name="T5" fmla="*/ 135 h 190"/>
                  <a:gd name="T6" fmla="*/ 236 w 369"/>
                  <a:gd name="T7" fmla="*/ 190 h 190"/>
                  <a:gd name="T8" fmla="*/ 184 w 369"/>
                  <a:gd name="T9" fmla="*/ 158 h 190"/>
                  <a:gd name="T10" fmla="*/ 184 w 369"/>
                  <a:gd name="T11" fmla="*/ 105 h 190"/>
                  <a:gd name="T12" fmla="*/ 172 w 369"/>
                  <a:gd name="T13" fmla="*/ 101 h 190"/>
                  <a:gd name="T14" fmla="*/ 172 w 369"/>
                  <a:gd name="T15" fmla="*/ 158 h 190"/>
                  <a:gd name="T16" fmla="*/ 138 w 369"/>
                  <a:gd name="T17" fmla="*/ 181 h 190"/>
                  <a:gd name="T18" fmla="*/ 82 w 369"/>
                  <a:gd name="T19" fmla="*/ 135 h 190"/>
                  <a:gd name="T20" fmla="*/ 82 w 369"/>
                  <a:gd name="T21" fmla="*/ 74 h 190"/>
                  <a:gd name="T22" fmla="*/ 18 w 369"/>
                  <a:gd name="T23" fmla="*/ 39 h 190"/>
                  <a:gd name="T24" fmla="*/ 3 w 369"/>
                  <a:gd name="T25" fmla="*/ 9 h 190"/>
                  <a:gd name="T26" fmla="*/ 68 w 369"/>
                  <a:gd name="T27" fmla="*/ 39 h 190"/>
                  <a:gd name="T28" fmla="*/ 147 w 369"/>
                  <a:gd name="T29" fmla="*/ 46 h 190"/>
                  <a:gd name="T30" fmla="*/ 182 w 369"/>
                  <a:gd name="T31" fmla="*/ 61 h 190"/>
                  <a:gd name="T32" fmla="*/ 184 w 369"/>
                  <a:gd name="T33" fmla="*/ 62 h 190"/>
                  <a:gd name="T34" fmla="*/ 184 w 369"/>
                  <a:gd name="T35" fmla="*/ 56 h 190"/>
                  <a:gd name="T36" fmla="*/ 218 w 369"/>
                  <a:gd name="T37" fmla="*/ 44 h 190"/>
                  <a:gd name="T38" fmla="*/ 275 w 369"/>
                  <a:gd name="T39" fmla="*/ 44 h 190"/>
                  <a:gd name="T40" fmla="*/ 345 w 369"/>
                  <a:gd name="T41" fmla="*/ 14 h 190"/>
                  <a:gd name="T42" fmla="*/ 356 w 369"/>
                  <a:gd name="T4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9" h="190">
                    <a:moveTo>
                      <a:pt x="356" y="29"/>
                    </a:moveTo>
                    <a:cubicBezTo>
                      <a:pt x="343" y="56"/>
                      <a:pt x="314" y="64"/>
                      <a:pt x="286" y="78"/>
                    </a:cubicBezTo>
                    <a:cubicBezTo>
                      <a:pt x="286" y="99"/>
                      <a:pt x="286" y="127"/>
                      <a:pt x="286" y="135"/>
                    </a:cubicBezTo>
                    <a:cubicBezTo>
                      <a:pt x="286" y="143"/>
                      <a:pt x="276" y="190"/>
                      <a:pt x="236" y="190"/>
                    </a:cubicBezTo>
                    <a:cubicBezTo>
                      <a:pt x="197" y="190"/>
                      <a:pt x="184" y="167"/>
                      <a:pt x="184" y="158"/>
                    </a:cubicBezTo>
                    <a:cubicBezTo>
                      <a:pt x="184" y="154"/>
                      <a:pt x="184" y="129"/>
                      <a:pt x="184" y="105"/>
                    </a:cubicBezTo>
                    <a:cubicBezTo>
                      <a:pt x="180" y="104"/>
                      <a:pt x="176" y="103"/>
                      <a:pt x="172" y="101"/>
                    </a:cubicBezTo>
                    <a:cubicBezTo>
                      <a:pt x="172" y="123"/>
                      <a:pt x="172" y="149"/>
                      <a:pt x="172" y="158"/>
                    </a:cubicBezTo>
                    <a:cubicBezTo>
                      <a:pt x="172" y="167"/>
                      <a:pt x="158" y="181"/>
                      <a:pt x="138" y="181"/>
                    </a:cubicBezTo>
                    <a:cubicBezTo>
                      <a:pt x="119" y="181"/>
                      <a:pt x="82" y="153"/>
                      <a:pt x="82" y="135"/>
                    </a:cubicBezTo>
                    <a:cubicBezTo>
                      <a:pt x="82" y="117"/>
                      <a:pt x="82" y="74"/>
                      <a:pt x="82" y="74"/>
                    </a:cubicBezTo>
                    <a:cubicBezTo>
                      <a:pt x="82" y="74"/>
                      <a:pt x="30" y="53"/>
                      <a:pt x="18" y="39"/>
                    </a:cubicBezTo>
                    <a:cubicBezTo>
                      <a:pt x="6" y="24"/>
                      <a:pt x="0" y="18"/>
                      <a:pt x="3" y="9"/>
                    </a:cubicBezTo>
                    <a:cubicBezTo>
                      <a:pt x="6" y="1"/>
                      <a:pt x="45" y="33"/>
                      <a:pt x="68" y="39"/>
                    </a:cubicBezTo>
                    <a:cubicBezTo>
                      <a:pt x="90" y="44"/>
                      <a:pt x="130" y="47"/>
                      <a:pt x="147" y="46"/>
                    </a:cubicBezTo>
                    <a:cubicBezTo>
                      <a:pt x="163" y="45"/>
                      <a:pt x="173" y="52"/>
                      <a:pt x="182" y="61"/>
                    </a:cubicBezTo>
                    <a:cubicBezTo>
                      <a:pt x="183" y="61"/>
                      <a:pt x="183" y="62"/>
                      <a:pt x="184" y="62"/>
                    </a:cubicBezTo>
                    <a:cubicBezTo>
                      <a:pt x="184" y="58"/>
                      <a:pt x="184" y="56"/>
                      <a:pt x="184" y="56"/>
                    </a:cubicBezTo>
                    <a:cubicBezTo>
                      <a:pt x="184" y="48"/>
                      <a:pt x="205" y="44"/>
                      <a:pt x="218" y="44"/>
                    </a:cubicBezTo>
                    <a:cubicBezTo>
                      <a:pt x="231" y="44"/>
                      <a:pt x="268" y="44"/>
                      <a:pt x="275" y="44"/>
                    </a:cubicBezTo>
                    <a:cubicBezTo>
                      <a:pt x="281" y="44"/>
                      <a:pt x="333" y="27"/>
                      <a:pt x="345" y="14"/>
                    </a:cubicBezTo>
                    <a:cubicBezTo>
                      <a:pt x="357" y="0"/>
                      <a:pt x="369" y="4"/>
                      <a:pt x="35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5" name="Oval 32">
                <a:extLst>
                  <a:ext uri="{FF2B5EF4-FFF2-40B4-BE49-F238E27FC236}">
                    <a16:creationId xmlns:a16="http://schemas.microsoft.com/office/drawing/2014/main" id="{774B3964-00AC-4C7D-BF07-72BD0AAD43E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4210050" y="12076113"/>
                <a:ext cx="300038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6" name="Oval 33">
                <a:extLst>
                  <a:ext uri="{FF2B5EF4-FFF2-40B4-BE49-F238E27FC236}">
                    <a16:creationId xmlns:a16="http://schemas.microsoft.com/office/drawing/2014/main" id="{DA2FDD6B-C280-4775-B2D7-36BD57F6B6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4602163" y="12076113"/>
                <a:ext cx="298450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CFAE0D1B-DD47-4ABB-891D-1D65110D6643}"/>
                </a:ext>
              </a:extLst>
            </p:cNvPr>
            <p:cNvSpPr/>
            <p:nvPr/>
          </p:nvSpPr>
          <p:spPr bwMode="gray">
            <a:xfrm>
              <a:off x="12597120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96BD72A0-E9C2-4086-8CE7-8BF42760F32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6040" y="7811351"/>
            <a:ext cx="413907" cy="414000"/>
            <a:chOff x="-417837" y="-6330900"/>
            <a:chExt cx="2959200" cy="2959864"/>
          </a:xfrm>
        </p:grpSpPr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57199BBE-DCAC-41B5-82A1-977701DDC82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-417742" y="-6330900"/>
              <a:ext cx="2959010" cy="2959864"/>
              <a:chOff x="-14173201" y="7094538"/>
              <a:chExt cx="10999788" cy="11002963"/>
            </a:xfrm>
          </p:grpSpPr>
          <p:sp>
            <p:nvSpPr>
              <p:cNvPr id="90" name="Freeform 20">
                <a:extLst>
                  <a:ext uri="{FF2B5EF4-FFF2-40B4-BE49-F238E27FC236}">
                    <a16:creationId xmlns:a16="http://schemas.microsoft.com/office/drawing/2014/main" id="{8120FEB6-0156-4909-8D39-0EDA41D5250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173201" y="7094538"/>
                <a:ext cx="2670175" cy="11002963"/>
              </a:xfrm>
              <a:custGeom>
                <a:avLst/>
                <a:gdLst>
                  <a:gd name="T0" fmla="*/ 2 w 25"/>
                  <a:gd name="T1" fmla="*/ 34 h 103"/>
                  <a:gd name="T2" fmla="*/ 23 w 25"/>
                  <a:gd name="T3" fmla="*/ 34 h 103"/>
                  <a:gd name="T4" fmla="*/ 23 w 25"/>
                  <a:gd name="T5" fmla="*/ 103 h 103"/>
                  <a:gd name="T6" fmla="*/ 2 w 25"/>
                  <a:gd name="T7" fmla="*/ 103 h 103"/>
                  <a:gd name="T8" fmla="*/ 2 w 25"/>
                  <a:gd name="T9" fmla="*/ 34 h 103"/>
                  <a:gd name="T10" fmla="*/ 13 w 25"/>
                  <a:gd name="T11" fmla="*/ 0 h 103"/>
                  <a:gd name="T12" fmla="*/ 25 w 25"/>
                  <a:gd name="T13" fmla="*/ 12 h 103"/>
                  <a:gd name="T14" fmla="*/ 13 w 25"/>
                  <a:gd name="T15" fmla="*/ 25 h 103"/>
                  <a:gd name="T16" fmla="*/ 0 w 25"/>
                  <a:gd name="T17" fmla="*/ 12 h 103"/>
                  <a:gd name="T18" fmla="*/ 13 w 25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103">
                    <a:moveTo>
                      <a:pt x="2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" y="103"/>
                      <a:pt x="2" y="103"/>
                      <a:pt x="2" y="103"/>
                    </a:cubicBezTo>
                    <a:lnTo>
                      <a:pt x="2" y="34"/>
                    </a:lnTo>
                    <a:close/>
                    <a:moveTo>
                      <a:pt x="13" y="0"/>
                    </a:moveTo>
                    <a:cubicBezTo>
                      <a:pt x="20" y="0"/>
                      <a:pt x="25" y="6"/>
                      <a:pt x="25" y="12"/>
                    </a:cubicBezTo>
                    <a:cubicBezTo>
                      <a:pt x="25" y="19"/>
                      <a:pt x="20" y="25"/>
                      <a:pt x="13" y="25"/>
                    </a:cubicBezTo>
                    <a:cubicBezTo>
                      <a:pt x="6" y="25"/>
                      <a:pt x="0" y="19"/>
                      <a:pt x="0" y="12"/>
                    </a:cubicBezTo>
                    <a:cubicBezTo>
                      <a:pt x="0" y="6"/>
                      <a:pt x="6" y="0"/>
                      <a:pt x="1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91" name="Freeform 21">
                <a:extLst>
                  <a:ext uri="{FF2B5EF4-FFF2-40B4-BE49-F238E27FC236}">
                    <a16:creationId xmlns:a16="http://schemas.microsoft.com/office/drawing/2014/main" id="{D8AD6F6E-3228-4DCD-AA12-8C4FF936AE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0221913" y="10512425"/>
                <a:ext cx="7048500" cy="7585075"/>
              </a:xfrm>
              <a:custGeom>
                <a:avLst/>
                <a:gdLst>
                  <a:gd name="T0" fmla="*/ 0 w 66"/>
                  <a:gd name="T1" fmla="*/ 2 h 71"/>
                  <a:gd name="T2" fmla="*/ 20 w 66"/>
                  <a:gd name="T3" fmla="*/ 2 h 71"/>
                  <a:gd name="T4" fmla="*/ 20 w 66"/>
                  <a:gd name="T5" fmla="*/ 11 h 71"/>
                  <a:gd name="T6" fmla="*/ 20 w 66"/>
                  <a:gd name="T7" fmla="*/ 11 h 71"/>
                  <a:gd name="T8" fmla="*/ 41 w 66"/>
                  <a:gd name="T9" fmla="*/ 0 h 71"/>
                  <a:gd name="T10" fmla="*/ 66 w 66"/>
                  <a:gd name="T11" fmla="*/ 33 h 71"/>
                  <a:gd name="T12" fmla="*/ 66 w 66"/>
                  <a:gd name="T13" fmla="*/ 71 h 71"/>
                  <a:gd name="T14" fmla="*/ 45 w 66"/>
                  <a:gd name="T15" fmla="*/ 71 h 71"/>
                  <a:gd name="T16" fmla="*/ 45 w 66"/>
                  <a:gd name="T17" fmla="*/ 37 h 71"/>
                  <a:gd name="T18" fmla="*/ 34 w 66"/>
                  <a:gd name="T19" fmla="*/ 19 h 71"/>
                  <a:gd name="T20" fmla="*/ 21 w 66"/>
                  <a:gd name="T21" fmla="*/ 37 h 71"/>
                  <a:gd name="T22" fmla="*/ 21 w 66"/>
                  <a:gd name="T23" fmla="*/ 71 h 71"/>
                  <a:gd name="T24" fmla="*/ 0 w 66"/>
                  <a:gd name="T25" fmla="*/ 71 h 71"/>
                  <a:gd name="T26" fmla="*/ 0 w 66"/>
                  <a:gd name="T27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71">
                    <a:moveTo>
                      <a:pt x="0" y="2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3" y="6"/>
                      <a:pt x="30" y="0"/>
                      <a:pt x="41" y="0"/>
                    </a:cubicBezTo>
                    <a:cubicBezTo>
                      <a:pt x="62" y="0"/>
                      <a:pt x="66" y="15"/>
                      <a:pt x="66" y="33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45" y="71"/>
                      <a:pt x="45" y="71"/>
                      <a:pt x="45" y="71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29"/>
                      <a:pt x="45" y="19"/>
                      <a:pt x="34" y="19"/>
                    </a:cubicBezTo>
                    <a:cubicBezTo>
                      <a:pt x="23" y="19"/>
                      <a:pt x="21" y="28"/>
                      <a:pt x="21" y="37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0" y="71"/>
                      <a:pt x="0" y="71"/>
                      <a:pt x="0" y="71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22B853E5-F3F5-4CF4-BD8C-4D8950855F56}"/>
                </a:ext>
              </a:extLst>
            </p:cNvPr>
            <p:cNvSpPr/>
            <p:nvPr/>
          </p:nvSpPr>
          <p:spPr bwMode="gray">
            <a:xfrm>
              <a:off x="-417837" y="-6330568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48ABB216-9037-43B5-83C0-150729A9DE79}"/>
              </a:ext>
            </a:extLst>
          </p:cNvPr>
          <p:cNvGrpSpPr/>
          <p:nvPr userDrawn="1"/>
        </p:nvGrpSpPr>
        <p:grpSpPr>
          <a:xfrm>
            <a:off x="11538986" y="8330098"/>
            <a:ext cx="347275" cy="412022"/>
            <a:chOff x="10944225" y="5821363"/>
            <a:chExt cx="374650" cy="444501"/>
          </a:xfrm>
          <a:solidFill>
            <a:schemeClr val="bg1"/>
          </a:solidFill>
        </p:grpSpPr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BBBF5DF1-F3B2-4B68-B559-83ABA62A4F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58538" y="6108701"/>
              <a:ext cx="22225" cy="87313"/>
            </a:xfrm>
            <a:custGeom>
              <a:avLst/>
              <a:gdLst>
                <a:gd name="T0" fmla="*/ 46 w 87"/>
                <a:gd name="T1" fmla="*/ 0 h 359"/>
                <a:gd name="T2" fmla="*/ 0 w 87"/>
                <a:gd name="T3" fmla="*/ 23 h 359"/>
                <a:gd name="T4" fmla="*/ 0 w 87"/>
                <a:gd name="T5" fmla="*/ 336 h 359"/>
                <a:gd name="T6" fmla="*/ 46 w 87"/>
                <a:gd name="T7" fmla="*/ 359 h 359"/>
                <a:gd name="T8" fmla="*/ 87 w 87"/>
                <a:gd name="T9" fmla="*/ 290 h 359"/>
                <a:gd name="T10" fmla="*/ 87 w 87"/>
                <a:gd name="T11" fmla="*/ 70 h 359"/>
                <a:gd name="T12" fmla="*/ 46 w 87"/>
                <a:gd name="T13" fmla="*/ 0 h 359"/>
                <a:gd name="T14" fmla="*/ 46 w 87"/>
                <a:gd name="T15" fmla="*/ 0 h 359"/>
                <a:gd name="T16" fmla="*/ 46 w 87"/>
                <a:gd name="T17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359">
                  <a:moveTo>
                    <a:pt x="46" y="0"/>
                  </a:moveTo>
                  <a:cubicBezTo>
                    <a:pt x="31" y="0"/>
                    <a:pt x="15" y="8"/>
                    <a:pt x="0" y="23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15" y="352"/>
                    <a:pt x="31" y="359"/>
                    <a:pt x="46" y="359"/>
                  </a:cubicBezTo>
                  <a:cubicBezTo>
                    <a:pt x="73" y="359"/>
                    <a:pt x="87" y="336"/>
                    <a:pt x="87" y="29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24"/>
                    <a:pt x="73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157635FA-BC41-4AB0-9D8F-85FC5EB815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42675" y="6108701"/>
              <a:ext cx="22225" cy="30163"/>
            </a:xfrm>
            <a:custGeom>
              <a:avLst/>
              <a:gdLst>
                <a:gd name="T0" fmla="*/ 46 w 93"/>
                <a:gd name="T1" fmla="*/ 0 h 119"/>
                <a:gd name="T2" fmla="*/ 0 w 93"/>
                <a:gd name="T3" fmla="*/ 72 h 119"/>
                <a:gd name="T4" fmla="*/ 0 w 93"/>
                <a:gd name="T5" fmla="*/ 119 h 119"/>
                <a:gd name="T6" fmla="*/ 93 w 93"/>
                <a:gd name="T7" fmla="*/ 119 h 119"/>
                <a:gd name="T8" fmla="*/ 93 w 93"/>
                <a:gd name="T9" fmla="*/ 72 h 119"/>
                <a:gd name="T10" fmla="*/ 46 w 93"/>
                <a:gd name="T11" fmla="*/ 0 h 119"/>
                <a:gd name="T12" fmla="*/ 46 w 93"/>
                <a:gd name="T13" fmla="*/ 0 h 119"/>
                <a:gd name="T14" fmla="*/ 46 w 93"/>
                <a:gd name="T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19">
                  <a:moveTo>
                    <a:pt x="46" y="0"/>
                  </a:moveTo>
                  <a:cubicBezTo>
                    <a:pt x="15" y="0"/>
                    <a:pt x="0" y="24"/>
                    <a:pt x="0" y="72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24"/>
                    <a:pt x="77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69A1E4BC-C90B-4DEE-850B-9BA54617EB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944225" y="6003926"/>
              <a:ext cx="374650" cy="261938"/>
            </a:xfrm>
            <a:custGeom>
              <a:avLst/>
              <a:gdLst>
                <a:gd name="T0" fmla="*/ 1308 w 1538"/>
                <a:gd name="T1" fmla="*/ 16 h 1075"/>
                <a:gd name="T2" fmla="*/ 769 w 1538"/>
                <a:gd name="T3" fmla="*/ 0 h 1075"/>
                <a:gd name="T4" fmla="*/ 76 w 1538"/>
                <a:gd name="T5" fmla="*/ 80 h 1075"/>
                <a:gd name="T6" fmla="*/ 0 w 1538"/>
                <a:gd name="T7" fmla="*/ 479 h 1075"/>
                <a:gd name="T8" fmla="*/ 15 w 1538"/>
                <a:gd name="T9" fmla="*/ 843 h 1075"/>
                <a:gd name="T10" fmla="*/ 246 w 1538"/>
                <a:gd name="T11" fmla="*/ 1060 h 1075"/>
                <a:gd name="T12" fmla="*/ 1308 w 1538"/>
                <a:gd name="T13" fmla="*/ 1059 h 1075"/>
                <a:gd name="T14" fmla="*/ 1523 w 1538"/>
                <a:gd name="T15" fmla="*/ 843 h 1075"/>
                <a:gd name="T16" fmla="*/ 1538 w 1538"/>
                <a:gd name="T17" fmla="*/ 479 h 1075"/>
                <a:gd name="T18" fmla="*/ 1462 w 1538"/>
                <a:gd name="T19" fmla="*/ 80 h 1075"/>
                <a:gd name="T20" fmla="*/ 235 w 1538"/>
                <a:gd name="T21" fmla="*/ 870 h 1075"/>
                <a:gd name="T22" fmla="*/ 125 w 1538"/>
                <a:gd name="T23" fmla="*/ 277 h 1075"/>
                <a:gd name="T24" fmla="*/ 451 w 1538"/>
                <a:gd name="T25" fmla="*/ 180 h 1075"/>
                <a:gd name="T26" fmla="*/ 339 w 1538"/>
                <a:gd name="T27" fmla="*/ 277 h 1075"/>
                <a:gd name="T28" fmla="*/ 707 w 1538"/>
                <a:gd name="T29" fmla="*/ 870 h 1075"/>
                <a:gd name="T30" fmla="*/ 613 w 1538"/>
                <a:gd name="T31" fmla="*/ 813 h 1075"/>
                <a:gd name="T32" fmla="*/ 447 w 1538"/>
                <a:gd name="T33" fmla="*/ 838 h 1075"/>
                <a:gd name="T34" fmla="*/ 438 w 1538"/>
                <a:gd name="T35" fmla="*/ 356 h 1075"/>
                <a:gd name="T36" fmla="*/ 532 w 1538"/>
                <a:gd name="T37" fmla="*/ 734 h 1075"/>
                <a:gd name="T38" fmla="*/ 554 w 1538"/>
                <a:gd name="T39" fmla="*/ 792 h 1075"/>
                <a:gd name="T40" fmla="*/ 613 w 1538"/>
                <a:gd name="T41" fmla="*/ 356 h 1075"/>
                <a:gd name="T42" fmla="*/ 707 w 1538"/>
                <a:gd name="T43" fmla="*/ 870 h 1075"/>
                <a:gd name="T44" fmla="*/ 1052 w 1538"/>
                <a:gd name="T45" fmla="*/ 819 h 1075"/>
                <a:gd name="T46" fmla="*/ 881 w 1538"/>
                <a:gd name="T47" fmla="*/ 820 h 1075"/>
                <a:gd name="T48" fmla="*/ 787 w 1538"/>
                <a:gd name="T49" fmla="*/ 870 h 1075"/>
                <a:gd name="T50" fmla="*/ 881 w 1538"/>
                <a:gd name="T51" fmla="*/ 180 h 1075"/>
                <a:gd name="T52" fmla="*/ 977 w 1538"/>
                <a:gd name="T53" fmla="*/ 349 h 1075"/>
                <a:gd name="T54" fmla="*/ 1061 w 1538"/>
                <a:gd name="T55" fmla="*/ 511 h 1075"/>
                <a:gd name="T56" fmla="*/ 1408 w 1538"/>
                <a:gd name="T57" fmla="*/ 630 h 1075"/>
                <a:gd name="T58" fmla="*/ 1222 w 1538"/>
                <a:gd name="T59" fmla="*/ 721 h 1075"/>
                <a:gd name="T60" fmla="*/ 1311 w 1538"/>
                <a:gd name="T61" fmla="*/ 755 h 1075"/>
                <a:gd name="T62" fmla="*/ 1408 w 1538"/>
                <a:gd name="T63" fmla="*/ 692 h 1075"/>
                <a:gd name="T64" fmla="*/ 1406 w 1538"/>
                <a:gd name="T65" fmla="*/ 765 h 1075"/>
                <a:gd name="T66" fmla="*/ 1271 w 1538"/>
                <a:gd name="T67" fmla="*/ 877 h 1075"/>
                <a:gd name="T68" fmla="*/ 1129 w 1538"/>
                <a:gd name="T69" fmla="*/ 703 h 1075"/>
                <a:gd name="T70" fmla="*/ 1157 w 1538"/>
                <a:gd name="T71" fmla="*/ 402 h 1075"/>
                <a:gd name="T72" fmla="*/ 1379 w 1538"/>
                <a:gd name="T73" fmla="*/ 402 h 1075"/>
                <a:gd name="T74" fmla="*/ 1408 w 1538"/>
                <a:gd name="T75" fmla="*/ 630 h 1075"/>
                <a:gd name="T76" fmla="*/ 1408 w 1538"/>
                <a:gd name="T77" fmla="*/ 630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38" h="1075">
                  <a:moveTo>
                    <a:pt x="1462" y="80"/>
                  </a:moveTo>
                  <a:cubicBezTo>
                    <a:pt x="1403" y="19"/>
                    <a:pt x="1338" y="19"/>
                    <a:pt x="1308" y="16"/>
                  </a:cubicBezTo>
                  <a:cubicBezTo>
                    <a:pt x="1092" y="0"/>
                    <a:pt x="769" y="0"/>
                    <a:pt x="769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69" y="0"/>
                    <a:pt x="446" y="0"/>
                    <a:pt x="230" y="16"/>
                  </a:cubicBezTo>
                  <a:cubicBezTo>
                    <a:pt x="200" y="19"/>
                    <a:pt x="135" y="19"/>
                    <a:pt x="76" y="80"/>
                  </a:cubicBezTo>
                  <a:cubicBezTo>
                    <a:pt x="30" y="127"/>
                    <a:pt x="15" y="232"/>
                    <a:pt x="15" y="232"/>
                  </a:cubicBezTo>
                  <a:cubicBezTo>
                    <a:pt x="15" y="232"/>
                    <a:pt x="0" y="356"/>
                    <a:pt x="0" y="479"/>
                  </a:cubicBezTo>
                  <a:cubicBezTo>
                    <a:pt x="0" y="595"/>
                    <a:pt x="0" y="595"/>
                    <a:pt x="0" y="595"/>
                  </a:cubicBezTo>
                  <a:cubicBezTo>
                    <a:pt x="0" y="719"/>
                    <a:pt x="15" y="843"/>
                    <a:pt x="15" y="843"/>
                  </a:cubicBezTo>
                  <a:cubicBezTo>
                    <a:pt x="15" y="843"/>
                    <a:pt x="30" y="948"/>
                    <a:pt x="76" y="995"/>
                  </a:cubicBezTo>
                  <a:cubicBezTo>
                    <a:pt x="135" y="1055"/>
                    <a:pt x="212" y="1053"/>
                    <a:pt x="246" y="1060"/>
                  </a:cubicBezTo>
                  <a:cubicBezTo>
                    <a:pt x="369" y="1072"/>
                    <a:pt x="769" y="1075"/>
                    <a:pt x="769" y="1075"/>
                  </a:cubicBezTo>
                  <a:cubicBezTo>
                    <a:pt x="769" y="1075"/>
                    <a:pt x="1092" y="1075"/>
                    <a:pt x="1308" y="1059"/>
                  </a:cubicBezTo>
                  <a:cubicBezTo>
                    <a:pt x="1338" y="1056"/>
                    <a:pt x="1403" y="1055"/>
                    <a:pt x="1462" y="995"/>
                  </a:cubicBezTo>
                  <a:cubicBezTo>
                    <a:pt x="1508" y="948"/>
                    <a:pt x="1523" y="843"/>
                    <a:pt x="1523" y="843"/>
                  </a:cubicBezTo>
                  <a:cubicBezTo>
                    <a:pt x="1523" y="843"/>
                    <a:pt x="1538" y="719"/>
                    <a:pt x="1538" y="595"/>
                  </a:cubicBezTo>
                  <a:cubicBezTo>
                    <a:pt x="1538" y="479"/>
                    <a:pt x="1538" y="479"/>
                    <a:pt x="1538" y="479"/>
                  </a:cubicBezTo>
                  <a:cubicBezTo>
                    <a:pt x="1538" y="356"/>
                    <a:pt x="1523" y="232"/>
                    <a:pt x="1523" y="232"/>
                  </a:cubicBezTo>
                  <a:cubicBezTo>
                    <a:pt x="1523" y="232"/>
                    <a:pt x="1508" y="127"/>
                    <a:pt x="1462" y="80"/>
                  </a:cubicBezTo>
                  <a:close/>
                  <a:moveTo>
                    <a:pt x="339" y="870"/>
                  </a:moveTo>
                  <a:cubicBezTo>
                    <a:pt x="235" y="870"/>
                    <a:pt x="235" y="870"/>
                    <a:pt x="235" y="870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451" y="180"/>
                    <a:pt x="451" y="180"/>
                    <a:pt x="451" y="180"/>
                  </a:cubicBezTo>
                  <a:cubicBezTo>
                    <a:pt x="451" y="277"/>
                    <a:pt x="451" y="277"/>
                    <a:pt x="451" y="277"/>
                  </a:cubicBezTo>
                  <a:cubicBezTo>
                    <a:pt x="339" y="277"/>
                    <a:pt x="339" y="277"/>
                    <a:pt x="339" y="277"/>
                  </a:cubicBezTo>
                  <a:lnTo>
                    <a:pt x="339" y="870"/>
                  </a:lnTo>
                  <a:close/>
                  <a:moveTo>
                    <a:pt x="707" y="870"/>
                  </a:moveTo>
                  <a:cubicBezTo>
                    <a:pt x="613" y="870"/>
                    <a:pt x="613" y="870"/>
                    <a:pt x="613" y="870"/>
                  </a:cubicBezTo>
                  <a:cubicBezTo>
                    <a:pt x="613" y="813"/>
                    <a:pt x="613" y="813"/>
                    <a:pt x="613" y="813"/>
                  </a:cubicBezTo>
                  <a:cubicBezTo>
                    <a:pt x="576" y="856"/>
                    <a:pt x="541" y="877"/>
                    <a:pt x="507" y="877"/>
                  </a:cubicBezTo>
                  <a:cubicBezTo>
                    <a:pt x="477" y="877"/>
                    <a:pt x="456" y="864"/>
                    <a:pt x="447" y="838"/>
                  </a:cubicBezTo>
                  <a:cubicBezTo>
                    <a:pt x="442" y="823"/>
                    <a:pt x="438" y="798"/>
                    <a:pt x="438" y="762"/>
                  </a:cubicBezTo>
                  <a:cubicBezTo>
                    <a:pt x="438" y="356"/>
                    <a:pt x="438" y="356"/>
                    <a:pt x="438" y="356"/>
                  </a:cubicBezTo>
                  <a:cubicBezTo>
                    <a:pt x="532" y="356"/>
                    <a:pt x="532" y="356"/>
                    <a:pt x="532" y="356"/>
                  </a:cubicBezTo>
                  <a:cubicBezTo>
                    <a:pt x="532" y="734"/>
                    <a:pt x="532" y="734"/>
                    <a:pt x="532" y="734"/>
                  </a:cubicBezTo>
                  <a:cubicBezTo>
                    <a:pt x="532" y="756"/>
                    <a:pt x="532" y="767"/>
                    <a:pt x="532" y="770"/>
                  </a:cubicBezTo>
                  <a:cubicBezTo>
                    <a:pt x="535" y="785"/>
                    <a:pt x="542" y="792"/>
                    <a:pt x="554" y="792"/>
                  </a:cubicBezTo>
                  <a:cubicBezTo>
                    <a:pt x="573" y="792"/>
                    <a:pt x="593" y="778"/>
                    <a:pt x="613" y="748"/>
                  </a:cubicBezTo>
                  <a:cubicBezTo>
                    <a:pt x="613" y="356"/>
                    <a:pt x="613" y="356"/>
                    <a:pt x="613" y="356"/>
                  </a:cubicBezTo>
                  <a:cubicBezTo>
                    <a:pt x="707" y="356"/>
                    <a:pt x="707" y="356"/>
                    <a:pt x="707" y="356"/>
                  </a:cubicBezTo>
                  <a:lnTo>
                    <a:pt x="707" y="870"/>
                  </a:lnTo>
                  <a:close/>
                  <a:moveTo>
                    <a:pt x="1061" y="715"/>
                  </a:moveTo>
                  <a:cubicBezTo>
                    <a:pt x="1061" y="763"/>
                    <a:pt x="1058" y="797"/>
                    <a:pt x="1052" y="819"/>
                  </a:cubicBezTo>
                  <a:cubicBezTo>
                    <a:pt x="1039" y="857"/>
                    <a:pt x="1014" y="877"/>
                    <a:pt x="977" y="877"/>
                  </a:cubicBezTo>
                  <a:cubicBezTo>
                    <a:pt x="944" y="877"/>
                    <a:pt x="912" y="858"/>
                    <a:pt x="881" y="820"/>
                  </a:cubicBezTo>
                  <a:cubicBezTo>
                    <a:pt x="881" y="870"/>
                    <a:pt x="881" y="870"/>
                    <a:pt x="881" y="870"/>
                  </a:cubicBezTo>
                  <a:cubicBezTo>
                    <a:pt x="787" y="870"/>
                    <a:pt x="787" y="870"/>
                    <a:pt x="787" y="870"/>
                  </a:cubicBezTo>
                  <a:cubicBezTo>
                    <a:pt x="787" y="180"/>
                    <a:pt x="787" y="180"/>
                    <a:pt x="787" y="180"/>
                  </a:cubicBezTo>
                  <a:cubicBezTo>
                    <a:pt x="881" y="180"/>
                    <a:pt x="881" y="180"/>
                    <a:pt x="881" y="180"/>
                  </a:cubicBezTo>
                  <a:cubicBezTo>
                    <a:pt x="881" y="405"/>
                    <a:pt x="881" y="405"/>
                    <a:pt x="881" y="405"/>
                  </a:cubicBezTo>
                  <a:cubicBezTo>
                    <a:pt x="911" y="368"/>
                    <a:pt x="943" y="349"/>
                    <a:pt x="977" y="349"/>
                  </a:cubicBezTo>
                  <a:cubicBezTo>
                    <a:pt x="1014" y="349"/>
                    <a:pt x="1039" y="369"/>
                    <a:pt x="1052" y="407"/>
                  </a:cubicBezTo>
                  <a:cubicBezTo>
                    <a:pt x="1058" y="428"/>
                    <a:pt x="1061" y="462"/>
                    <a:pt x="1061" y="511"/>
                  </a:cubicBezTo>
                  <a:lnTo>
                    <a:pt x="1061" y="715"/>
                  </a:lnTo>
                  <a:close/>
                  <a:moveTo>
                    <a:pt x="1408" y="630"/>
                  </a:moveTo>
                  <a:cubicBezTo>
                    <a:pt x="1222" y="630"/>
                    <a:pt x="1222" y="630"/>
                    <a:pt x="1222" y="630"/>
                  </a:cubicBezTo>
                  <a:cubicBezTo>
                    <a:pt x="1222" y="721"/>
                    <a:pt x="1222" y="721"/>
                    <a:pt x="1222" y="721"/>
                  </a:cubicBezTo>
                  <a:cubicBezTo>
                    <a:pt x="1222" y="768"/>
                    <a:pt x="1237" y="792"/>
                    <a:pt x="1269" y="792"/>
                  </a:cubicBezTo>
                  <a:cubicBezTo>
                    <a:pt x="1292" y="792"/>
                    <a:pt x="1306" y="780"/>
                    <a:pt x="1311" y="755"/>
                  </a:cubicBezTo>
                  <a:cubicBezTo>
                    <a:pt x="1312" y="750"/>
                    <a:pt x="1313" y="729"/>
                    <a:pt x="1313" y="692"/>
                  </a:cubicBezTo>
                  <a:cubicBezTo>
                    <a:pt x="1408" y="692"/>
                    <a:pt x="1408" y="692"/>
                    <a:pt x="1408" y="692"/>
                  </a:cubicBezTo>
                  <a:cubicBezTo>
                    <a:pt x="1408" y="705"/>
                    <a:pt x="1408" y="705"/>
                    <a:pt x="1408" y="705"/>
                  </a:cubicBezTo>
                  <a:cubicBezTo>
                    <a:pt x="1408" y="735"/>
                    <a:pt x="1407" y="756"/>
                    <a:pt x="1406" y="765"/>
                  </a:cubicBezTo>
                  <a:cubicBezTo>
                    <a:pt x="1403" y="786"/>
                    <a:pt x="1396" y="804"/>
                    <a:pt x="1384" y="821"/>
                  </a:cubicBezTo>
                  <a:cubicBezTo>
                    <a:pt x="1358" y="858"/>
                    <a:pt x="1320" y="877"/>
                    <a:pt x="1271" y="877"/>
                  </a:cubicBezTo>
                  <a:cubicBezTo>
                    <a:pt x="1223" y="877"/>
                    <a:pt x="1186" y="859"/>
                    <a:pt x="1159" y="824"/>
                  </a:cubicBezTo>
                  <a:cubicBezTo>
                    <a:pt x="1139" y="798"/>
                    <a:pt x="1129" y="758"/>
                    <a:pt x="1129" y="703"/>
                  </a:cubicBezTo>
                  <a:cubicBezTo>
                    <a:pt x="1129" y="523"/>
                    <a:pt x="1129" y="523"/>
                    <a:pt x="1129" y="523"/>
                  </a:cubicBezTo>
                  <a:cubicBezTo>
                    <a:pt x="1129" y="468"/>
                    <a:pt x="1138" y="428"/>
                    <a:pt x="1157" y="402"/>
                  </a:cubicBezTo>
                  <a:cubicBezTo>
                    <a:pt x="1184" y="367"/>
                    <a:pt x="1222" y="349"/>
                    <a:pt x="1269" y="349"/>
                  </a:cubicBezTo>
                  <a:cubicBezTo>
                    <a:pt x="1316" y="349"/>
                    <a:pt x="1353" y="367"/>
                    <a:pt x="1379" y="402"/>
                  </a:cubicBezTo>
                  <a:cubicBezTo>
                    <a:pt x="1399" y="428"/>
                    <a:pt x="1408" y="468"/>
                    <a:pt x="1408" y="523"/>
                  </a:cubicBezTo>
                  <a:lnTo>
                    <a:pt x="1408" y="630"/>
                  </a:lnTo>
                  <a:close/>
                  <a:moveTo>
                    <a:pt x="1408" y="630"/>
                  </a:moveTo>
                  <a:cubicBezTo>
                    <a:pt x="1408" y="630"/>
                    <a:pt x="1408" y="630"/>
                    <a:pt x="1408" y="6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B08B17B3-EFE3-4CAF-9EEB-17F6AEFC48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14075" y="5821363"/>
              <a:ext cx="88900" cy="169863"/>
            </a:xfrm>
            <a:custGeom>
              <a:avLst/>
              <a:gdLst>
                <a:gd name="T0" fmla="*/ 236 w 362"/>
                <a:gd name="T1" fmla="*/ 697 h 697"/>
                <a:gd name="T2" fmla="*/ 236 w 362"/>
                <a:gd name="T3" fmla="*/ 415 h 697"/>
                <a:gd name="T4" fmla="*/ 362 w 362"/>
                <a:gd name="T5" fmla="*/ 0 h 697"/>
                <a:gd name="T6" fmla="*/ 256 w 362"/>
                <a:gd name="T7" fmla="*/ 0 h 697"/>
                <a:gd name="T8" fmla="*/ 185 w 362"/>
                <a:gd name="T9" fmla="*/ 274 h 697"/>
                <a:gd name="T10" fmla="*/ 110 w 362"/>
                <a:gd name="T11" fmla="*/ 0 h 697"/>
                <a:gd name="T12" fmla="*/ 0 w 362"/>
                <a:gd name="T13" fmla="*/ 0 h 697"/>
                <a:gd name="T14" fmla="*/ 67 w 362"/>
                <a:gd name="T15" fmla="*/ 194 h 697"/>
                <a:gd name="T16" fmla="*/ 131 w 362"/>
                <a:gd name="T17" fmla="*/ 415 h 697"/>
                <a:gd name="T18" fmla="*/ 131 w 362"/>
                <a:gd name="T19" fmla="*/ 697 h 697"/>
                <a:gd name="T20" fmla="*/ 236 w 362"/>
                <a:gd name="T21" fmla="*/ 697 h 697"/>
                <a:gd name="T22" fmla="*/ 236 w 362"/>
                <a:gd name="T23" fmla="*/ 697 h 697"/>
                <a:gd name="T24" fmla="*/ 236 w 362"/>
                <a:gd name="T25" fmla="*/ 697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2" h="697">
                  <a:moveTo>
                    <a:pt x="236" y="697"/>
                  </a:moveTo>
                  <a:cubicBezTo>
                    <a:pt x="236" y="415"/>
                    <a:pt x="236" y="415"/>
                    <a:pt x="236" y="41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185" y="274"/>
                    <a:pt x="185" y="274"/>
                    <a:pt x="185" y="27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65"/>
                    <a:pt x="45" y="130"/>
                    <a:pt x="67" y="194"/>
                  </a:cubicBezTo>
                  <a:cubicBezTo>
                    <a:pt x="101" y="291"/>
                    <a:pt x="122" y="365"/>
                    <a:pt x="131" y="415"/>
                  </a:cubicBezTo>
                  <a:cubicBezTo>
                    <a:pt x="131" y="697"/>
                    <a:pt x="131" y="697"/>
                    <a:pt x="131" y="697"/>
                  </a:cubicBezTo>
                  <a:lnTo>
                    <a:pt x="236" y="697"/>
                  </a:lnTo>
                  <a:close/>
                  <a:moveTo>
                    <a:pt x="236" y="697"/>
                  </a:moveTo>
                  <a:cubicBezTo>
                    <a:pt x="236" y="697"/>
                    <a:pt x="236" y="697"/>
                    <a:pt x="236" y="6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3FFC8FBA-71A2-4BC3-BC08-EDF6460977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98213" y="5862638"/>
              <a:ext cx="66675" cy="130175"/>
            </a:xfrm>
            <a:custGeom>
              <a:avLst/>
              <a:gdLst>
                <a:gd name="T0" fmla="*/ 139 w 278"/>
                <a:gd name="T1" fmla="*/ 533 h 533"/>
                <a:gd name="T2" fmla="*/ 249 w 278"/>
                <a:gd name="T3" fmla="*/ 480 h 533"/>
                <a:gd name="T4" fmla="*/ 278 w 278"/>
                <a:gd name="T5" fmla="*/ 358 h 533"/>
                <a:gd name="T6" fmla="*/ 278 w 278"/>
                <a:gd name="T7" fmla="*/ 176 h 533"/>
                <a:gd name="T8" fmla="*/ 249 w 278"/>
                <a:gd name="T9" fmla="*/ 54 h 533"/>
                <a:gd name="T10" fmla="*/ 139 w 278"/>
                <a:gd name="T11" fmla="*/ 0 h 533"/>
                <a:gd name="T12" fmla="*/ 29 w 278"/>
                <a:gd name="T13" fmla="*/ 54 h 533"/>
                <a:gd name="T14" fmla="*/ 0 w 278"/>
                <a:gd name="T15" fmla="*/ 176 h 533"/>
                <a:gd name="T16" fmla="*/ 0 w 278"/>
                <a:gd name="T17" fmla="*/ 358 h 533"/>
                <a:gd name="T18" fmla="*/ 29 w 278"/>
                <a:gd name="T19" fmla="*/ 480 h 533"/>
                <a:gd name="T20" fmla="*/ 139 w 278"/>
                <a:gd name="T21" fmla="*/ 533 h 533"/>
                <a:gd name="T22" fmla="*/ 94 w 278"/>
                <a:gd name="T23" fmla="*/ 157 h 533"/>
                <a:gd name="T24" fmla="*/ 139 w 278"/>
                <a:gd name="T25" fmla="*/ 85 h 533"/>
                <a:gd name="T26" fmla="*/ 184 w 278"/>
                <a:gd name="T27" fmla="*/ 157 h 533"/>
                <a:gd name="T28" fmla="*/ 184 w 278"/>
                <a:gd name="T29" fmla="*/ 375 h 533"/>
                <a:gd name="T30" fmla="*/ 139 w 278"/>
                <a:gd name="T31" fmla="*/ 447 h 533"/>
                <a:gd name="T32" fmla="*/ 94 w 278"/>
                <a:gd name="T33" fmla="*/ 375 h 533"/>
                <a:gd name="T34" fmla="*/ 94 w 278"/>
                <a:gd name="T35" fmla="*/ 157 h 533"/>
                <a:gd name="T36" fmla="*/ 94 w 278"/>
                <a:gd name="T37" fmla="*/ 157 h 533"/>
                <a:gd name="T38" fmla="*/ 94 w 278"/>
                <a:gd name="T39" fmla="*/ 15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8" h="533">
                  <a:moveTo>
                    <a:pt x="139" y="533"/>
                  </a:moveTo>
                  <a:cubicBezTo>
                    <a:pt x="186" y="533"/>
                    <a:pt x="223" y="515"/>
                    <a:pt x="249" y="480"/>
                  </a:cubicBezTo>
                  <a:cubicBezTo>
                    <a:pt x="269" y="454"/>
                    <a:pt x="278" y="413"/>
                    <a:pt x="278" y="358"/>
                  </a:cubicBezTo>
                  <a:cubicBezTo>
                    <a:pt x="278" y="176"/>
                    <a:pt x="278" y="176"/>
                    <a:pt x="278" y="176"/>
                  </a:cubicBezTo>
                  <a:cubicBezTo>
                    <a:pt x="278" y="120"/>
                    <a:pt x="269" y="80"/>
                    <a:pt x="249" y="54"/>
                  </a:cubicBezTo>
                  <a:cubicBezTo>
                    <a:pt x="223" y="18"/>
                    <a:pt x="186" y="0"/>
                    <a:pt x="139" y="0"/>
                  </a:cubicBezTo>
                  <a:cubicBezTo>
                    <a:pt x="92" y="0"/>
                    <a:pt x="55" y="18"/>
                    <a:pt x="29" y="54"/>
                  </a:cubicBezTo>
                  <a:cubicBezTo>
                    <a:pt x="9" y="80"/>
                    <a:pt x="0" y="120"/>
                    <a:pt x="0" y="17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413"/>
                    <a:pt x="9" y="454"/>
                    <a:pt x="29" y="480"/>
                  </a:cubicBezTo>
                  <a:cubicBezTo>
                    <a:pt x="55" y="515"/>
                    <a:pt x="92" y="533"/>
                    <a:pt x="139" y="533"/>
                  </a:cubicBezTo>
                  <a:close/>
                  <a:moveTo>
                    <a:pt x="94" y="157"/>
                  </a:moveTo>
                  <a:cubicBezTo>
                    <a:pt x="94" y="109"/>
                    <a:pt x="109" y="85"/>
                    <a:pt x="139" y="85"/>
                  </a:cubicBezTo>
                  <a:cubicBezTo>
                    <a:pt x="169" y="85"/>
                    <a:pt x="184" y="109"/>
                    <a:pt x="184" y="157"/>
                  </a:cubicBezTo>
                  <a:cubicBezTo>
                    <a:pt x="184" y="375"/>
                    <a:pt x="184" y="375"/>
                    <a:pt x="184" y="375"/>
                  </a:cubicBezTo>
                  <a:cubicBezTo>
                    <a:pt x="184" y="423"/>
                    <a:pt x="169" y="447"/>
                    <a:pt x="139" y="447"/>
                  </a:cubicBezTo>
                  <a:cubicBezTo>
                    <a:pt x="109" y="447"/>
                    <a:pt x="94" y="423"/>
                    <a:pt x="94" y="375"/>
                  </a:cubicBezTo>
                  <a:lnTo>
                    <a:pt x="94" y="157"/>
                  </a:lnTo>
                  <a:close/>
                  <a:moveTo>
                    <a:pt x="94" y="157"/>
                  </a:moveTo>
                  <a:cubicBezTo>
                    <a:pt x="94" y="157"/>
                    <a:pt x="94" y="157"/>
                    <a:pt x="94" y="1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822B343C-BF8F-4FA7-B89A-F014BE56A6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82350" y="5864226"/>
              <a:ext cx="66675" cy="128588"/>
            </a:xfrm>
            <a:custGeom>
              <a:avLst/>
              <a:gdLst>
                <a:gd name="T0" fmla="*/ 271 w 271"/>
                <a:gd name="T1" fmla="*/ 520 h 527"/>
                <a:gd name="T2" fmla="*/ 271 w 271"/>
                <a:gd name="T3" fmla="*/ 0 h 527"/>
                <a:gd name="T4" fmla="*/ 177 w 271"/>
                <a:gd name="T5" fmla="*/ 0 h 527"/>
                <a:gd name="T6" fmla="*/ 177 w 271"/>
                <a:gd name="T7" fmla="*/ 397 h 527"/>
                <a:gd name="T8" fmla="*/ 117 w 271"/>
                <a:gd name="T9" fmla="*/ 442 h 527"/>
                <a:gd name="T10" fmla="*/ 95 w 271"/>
                <a:gd name="T11" fmla="*/ 419 h 527"/>
                <a:gd name="T12" fmla="*/ 94 w 271"/>
                <a:gd name="T13" fmla="*/ 383 h 527"/>
                <a:gd name="T14" fmla="*/ 94 w 271"/>
                <a:gd name="T15" fmla="*/ 0 h 527"/>
                <a:gd name="T16" fmla="*/ 0 w 271"/>
                <a:gd name="T17" fmla="*/ 0 h 527"/>
                <a:gd name="T18" fmla="*/ 0 w 271"/>
                <a:gd name="T19" fmla="*/ 411 h 527"/>
                <a:gd name="T20" fmla="*/ 8 w 271"/>
                <a:gd name="T21" fmla="*/ 488 h 527"/>
                <a:gd name="T22" fmla="*/ 69 w 271"/>
                <a:gd name="T23" fmla="*/ 527 h 527"/>
                <a:gd name="T24" fmla="*/ 177 w 271"/>
                <a:gd name="T25" fmla="*/ 463 h 527"/>
                <a:gd name="T26" fmla="*/ 177 w 271"/>
                <a:gd name="T27" fmla="*/ 520 h 527"/>
                <a:gd name="T28" fmla="*/ 271 w 271"/>
                <a:gd name="T29" fmla="*/ 520 h 527"/>
                <a:gd name="T30" fmla="*/ 271 w 271"/>
                <a:gd name="T31" fmla="*/ 520 h 527"/>
                <a:gd name="T32" fmla="*/ 271 w 271"/>
                <a:gd name="T33" fmla="*/ 52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1" h="527">
                  <a:moveTo>
                    <a:pt x="271" y="520"/>
                  </a:moveTo>
                  <a:cubicBezTo>
                    <a:pt x="271" y="0"/>
                    <a:pt x="271" y="0"/>
                    <a:pt x="271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97"/>
                    <a:pt x="177" y="397"/>
                    <a:pt x="177" y="397"/>
                  </a:cubicBezTo>
                  <a:cubicBezTo>
                    <a:pt x="156" y="427"/>
                    <a:pt x="136" y="442"/>
                    <a:pt x="117" y="442"/>
                  </a:cubicBezTo>
                  <a:cubicBezTo>
                    <a:pt x="104" y="442"/>
                    <a:pt x="97" y="434"/>
                    <a:pt x="95" y="419"/>
                  </a:cubicBezTo>
                  <a:cubicBezTo>
                    <a:pt x="94" y="416"/>
                    <a:pt x="94" y="405"/>
                    <a:pt x="94" y="383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48"/>
                    <a:pt x="3" y="473"/>
                    <a:pt x="8" y="488"/>
                  </a:cubicBezTo>
                  <a:cubicBezTo>
                    <a:pt x="18" y="515"/>
                    <a:pt x="39" y="527"/>
                    <a:pt x="69" y="527"/>
                  </a:cubicBezTo>
                  <a:cubicBezTo>
                    <a:pt x="103" y="527"/>
                    <a:pt x="139" y="506"/>
                    <a:pt x="177" y="463"/>
                  </a:cubicBezTo>
                  <a:cubicBezTo>
                    <a:pt x="177" y="520"/>
                    <a:pt x="177" y="520"/>
                    <a:pt x="177" y="520"/>
                  </a:cubicBezTo>
                  <a:lnTo>
                    <a:pt x="271" y="520"/>
                  </a:lnTo>
                  <a:close/>
                  <a:moveTo>
                    <a:pt x="271" y="520"/>
                  </a:moveTo>
                  <a:cubicBezTo>
                    <a:pt x="271" y="520"/>
                    <a:pt x="271" y="520"/>
                    <a:pt x="271" y="5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9" name="Textplatzhalter 6">
            <a:extLst>
              <a:ext uri="{FF2B5EF4-FFF2-40B4-BE49-F238E27FC236}">
                <a16:creationId xmlns:a16="http://schemas.microsoft.com/office/drawing/2014/main" id="{DB590A74-7CC0-4492-9392-4455EA3653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42947" y="8326366"/>
            <a:ext cx="4974834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xing.com/</a:t>
            </a:r>
            <a:r>
              <a:rPr lang="de-DE" dirty="0" err="1"/>
              <a:t>companies</a:t>
            </a:r>
            <a:r>
              <a:rPr lang="de-DE" dirty="0"/>
              <a:t>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100" name="Textplatzhalter 5">
            <a:extLst>
              <a:ext uri="{FF2B5EF4-FFF2-40B4-BE49-F238E27FC236}">
                <a16:creationId xmlns:a16="http://schemas.microsoft.com/office/drawing/2014/main" id="{2A731B9A-3EAF-43F5-8C68-35416660F62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42946" y="7810507"/>
            <a:ext cx="5161129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inkedin.com/</a:t>
            </a:r>
            <a:r>
              <a:rPr lang="de-DE" dirty="0" err="1"/>
              <a:t>company</a:t>
            </a:r>
            <a:r>
              <a:rPr lang="de-DE" dirty="0"/>
              <a:t>/</a:t>
            </a:r>
            <a:r>
              <a:rPr lang="de-DE" dirty="0" err="1"/>
              <a:t>qaware-gmbh</a:t>
            </a:r>
            <a:endParaRPr lang="de-DE" dirty="0"/>
          </a:p>
        </p:txBody>
      </p:sp>
      <p:sp>
        <p:nvSpPr>
          <p:cNvPr id="101" name="Textplatzhalter 8">
            <a:extLst>
              <a:ext uri="{FF2B5EF4-FFF2-40B4-BE49-F238E27FC236}">
                <a16:creationId xmlns:a16="http://schemas.microsoft.com/office/drawing/2014/main" id="{4474D710-94FD-489E-B2FC-B5DC59F5F35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150546" y="7810507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lideshare.net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102" name="Textplatzhalter 4">
            <a:extLst>
              <a:ext uri="{FF2B5EF4-FFF2-40B4-BE49-F238E27FC236}">
                <a16:creationId xmlns:a16="http://schemas.microsoft.com/office/drawing/2014/main" id="{D8111555-0F87-4C88-A993-F92D06BEA76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42947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witter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103" name="Textplatzhalter 7">
            <a:extLst>
              <a:ext uri="{FF2B5EF4-FFF2-40B4-BE49-F238E27FC236}">
                <a16:creationId xmlns:a16="http://schemas.microsoft.com/office/drawing/2014/main" id="{930D7EE3-1C66-41B5-BB0C-4EC76883394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150546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ithub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104" name="Textplatzhalter 9">
            <a:extLst>
              <a:ext uri="{FF2B5EF4-FFF2-40B4-BE49-F238E27FC236}">
                <a16:creationId xmlns:a16="http://schemas.microsoft.com/office/drawing/2014/main" id="{4F962E37-C5BF-4647-BCDC-79C2EE869A3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150546" y="8326366"/>
            <a:ext cx="389282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youtube.com/</a:t>
            </a:r>
            <a:r>
              <a:rPr lang="de-DE" dirty="0" err="1"/>
              <a:t>qawaregmbh</a:t>
            </a:r>
            <a:endParaRPr lang="de-DE" dirty="0"/>
          </a:p>
        </p:txBody>
      </p: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02BE4C7D-F787-43A5-B4D1-7FC15E73477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489396" y="7294925"/>
            <a:ext cx="414000" cy="414000"/>
            <a:chOff x="3215717" y="-6330900"/>
            <a:chExt cx="2959200" cy="2959201"/>
          </a:xfrm>
        </p:grpSpPr>
        <p:sp>
          <p:nvSpPr>
            <p:cNvPr id="106" name="Freeform 26">
              <a:extLst>
                <a:ext uri="{FF2B5EF4-FFF2-40B4-BE49-F238E27FC236}">
                  <a16:creationId xmlns:a16="http://schemas.microsoft.com/office/drawing/2014/main" id="{E9E2FBE7-C4CF-4072-B3B5-BB0922D47FB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215717" y="-6303725"/>
              <a:ext cx="2959200" cy="2904850"/>
            </a:xfrm>
            <a:custGeom>
              <a:avLst/>
              <a:gdLst>
                <a:gd name="T0" fmla="*/ 52 w 105"/>
                <a:gd name="T1" fmla="*/ 0 h 103"/>
                <a:gd name="T2" fmla="*/ 0 w 105"/>
                <a:gd name="T3" fmla="*/ 52 h 103"/>
                <a:gd name="T4" fmla="*/ 35 w 105"/>
                <a:gd name="T5" fmla="*/ 102 h 103"/>
                <a:gd name="T6" fmla="*/ 39 w 105"/>
                <a:gd name="T7" fmla="*/ 99 h 103"/>
                <a:gd name="T8" fmla="*/ 39 w 105"/>
                <a:gd name="T9" fmla="*/ 91 h 103"/>
                <a:gd name="T10" fmla="*/ 21 w 105"/>
                <a:gd name="T11" fmla="*/ 84 h 103"/>
                <a:gd name="T12" fmla="*/ 15 w 105"/>
                <a:gd name="T13" fmla="*/ 76 h 103"/>
                <a:gd name="T14" fmla="*/ 16 w 105"/>
                <a:gd name="T15" fmla="*/ 73 h 103"/>
                <a:gd name="T16" fmla="*/ 24 w 105"/>
                <a:gd name="T17" fmla="*/ 78 h 103"/>
                <a:gd name="T18" fmla="*/ 39 w 105"/>
                <a:gd name="T19" fmla="*/ 82 h 103"/>
                <a:gd name="T20" fmla="*/ 42 w 105"/>
                <a:gd name="T21" fmla="*/ 75 h 103"/>
                <a:gd name="T22" fmla="*/ 19 w 105"/>
                <a:gd name="T23" fmla="*/ 49 h 103"/>
                <a:gd name="T24" fmla="*/ 24 w 105"/>
                <a:gd name="T25" fmla="*/ 35 h 103"/>
                <a:gd name="T26" fmla="*/ 24 w 105"/>
                <a:gd name="T27" fmla="*/ 21 h 103"/>
                <a:gd name="T28" fmla="*/ 39 w 105"/>
                <a:gd name="T29" fmla="*/ 27 h 103"/>
                <a:gd name="T30" fmla="*/ 52 w 105"/>
                <a:gd name="T31" fmla="*/ 25 h 103"/>
                <a:gd name="T32" fmla="*/ 65 w 105"/>
                <a:gd name="T33" fmla="*/ 27 h 103"/>
                <a:gd name="T34" fmla="*/ 80 w 105"/>
                <a:gd name="T35" fmla="*/ 21 h 103"/>
                <a:gd name="T36" fmla="*/ 80 w 105"/>
                <a:gd name="T37" fmla="*/ 35 h 103"/>
                <a:gd name="T38" fmla="*/ 86 w 105"/>
                <a:gd name="T39" fmla="*/ 49 h 103"/>
                <a:gd name="T40" fmla="*/ 62 w 105"/>
                <a:gd name="T41" fmla="*/ 75 h 103"/>
                <a:gd name="T42" fmla="*/ 65 w 105"/>
                <a:gd name="T43" fmla="*/ 85 h 103"/>
                <a:gd name="T44" fmla="*/ 65 w 105"/>
                <a:gd name="T45" fmla="*/ 99 h 103"/>
                <a:gd name="T46" fmla="*/ 69 w 105"/>
                <a:gd name="T47" fmla="*/ 102 h 103"/>
                <a:gd name="T48" fmla="*/ 105 w 105"/>
                <a:gd name="T49" fmla="*/ 52 h 103"/>
                <a:gd name="T50" fmla="*/ 52 w 105"/>
                <a:gd name="T5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03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75"/>
                    <a:pt x="15" y="95"/>
                    <a:pt x="35" y="102"/>
                  </a:cubicBezTo>
                  <a:cubicBezTo>
                    <a:pt x="38" y="103"/>
                    <a:pt x="39" y="101"/>
                    <a:pt x="39" y="99"/>
                  </a:cubicBezTo>
                  <a:cubicBezTo>
                    <a:pt x="39" y="98"/>
                    <a:pt x="39" y="95"/>
                    <a:pt x="39" y="91"/>
                  </a:cubicBezTo>
                  <a:cubicBezTo>
                    <a:pt x="24" y="94"/>
                    <a:pt x="21" y="84"/>
                    <a:pt x="21" y="84"/>
                  </a:cubicBezTo>
                  <a:cubicBezTo>
                    <a:pt x="19" y="77"/>
                    <a:pt x="15" y="76"/>
                    <a:pt x="15" y="76"/>
                  </a:cubicBezTo>
                  <a:cubicBezTo>
                    <a:pt x="11" y="73"/>
                    <a:pt x="16" y="73"/>
                    <a:pt x="16" y="73"/>
                  </a:cubicBezTo>
                  <a:cubicBezTo>
                    <a:pt x="21" y="73"/>
                    <a:pt x="24" y="78"/>
                    <a:pt x="24" y="78"/>
                  </a:cubicBezTo>
                  <a:cubicBezTo>
                    <a:pt x="29" y="86"/>
                    <a:pt x="36" y="84"/>
                    <a:pt x="39" y="82"/>
                  </a:cubicBezTo>
                  <a:cubicBezTo>
                    <a:pt x="40" y="79"/>
                    <a:pt x="41" y="77"/>
                    <a:pt x="42" y="75"/>
                  </a:cubicBezTo>
                  <a:cubicBezTo>
                    <a:pt x="31" y="74"/>
                    <a:pt x="19" y="70"/>
                    <a:pt x="19" y="49"/>
                  </a:cubicBezTo>
                  <a:cubicBezTo>
                    <a:pt x="19" y="44"/>
                    <a:pt x="21" y="39"/>
                    <a:pt x="24" y="35"/>
                  </a:cubicBezTo>
                  <a:cubicBezTo>
                    <a:pt x="23" y="34"/>
                    <a:pt x="22" y="29"/>
                    <a:pt x="24" y="21"/>
                  </a:cubicBezTo>
                  <a:cubicBezTo>
                    <a:pt x="24" y="21"/>
                    <a:pt x="29" y="20"/>
                    <a:pt x="39" y="27"/>
                  </a:cubicBezTo>
                  <a:cubicBezTo>
                    <a:pt x="43" y="26"/>
                    <a:pt x="48" y="25"/>
                    <a:pt x="52" y="25"/>
                  </a:cubicBezTo>
                  <a:cubicBezTo>
                    <a:pt x="57" y="25"/>
                    <a:pt x="61" y="26"/>
                    <a:pt x="65" y="27"/>
                  </a:cubicBezTo>
                  <a:cubicBezTo>
                    <a:pt x="75" y="20"/>
                    <a:pt x="80" y="21"/>
                    <a:pt x="80" y="21"/>
                  </a:cubicBezTo>
                  <a:cubicBezTo>
                    <a:pt x="83" y="29"/>
                    <a:pt x="81" y="34"/>
                    <a:pt x="80" y="35"/>
                  </a:cubicBezTo>
                  <a:cubicBezTo>
                    <a:pt x="84" y="39"/>
                    <a:pt x="86" y="44"/>
                    <a:pt x="86" y="49"/>
                  </a:cubicBezTo>
                  <a:cubicBezTo>
                    <a:pt x="86" y="70"/>
                    <a:pt x="73" y="74"/>
                    <a:pt x="62" y="75"/>
                  </a:cubicBezTo>
                  <a:cubicBezTo>
                    <a:pt x="64" y="77"/>
                    <a:pt x="65" y="80"/>
                    <a:pt x="65" y="85"/>
                  </a:cubicBezTo>
                  <a:cubicBezTo>
                    <a:pt x="65" y="92"/>
                    <a:pt x="65" y="98"/>
                    <a:pt x="65" y="99"/>
                  </a:cubicBezTo>
                  <a:cubicBezTo>
                    <a:pt x="65" y="101"/>
                    <a:pt x="66" y="103"/>
                    <a:pt x="69" y="102"/>
                  </a:cubicBezTo>
                  <a:cubicBezTo>
                    <a:pt x="90" y="95"/>
                    <a:pt x="105" y="75"/>
                    <a:pt x="105" y="52"/>
                  </a:cubicBezTo>
                  <a:cubicBezTo>
                    <a:pt x="105" y="23"/>
                    <a:pt x="81" y="0"/>
                    <a:pt x="5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CE2F44DD-760F-45EE-A1A7-36F8BA980F01}"/>
                </a:ext>
              </a:extLst>
            </p:cNvPr>
            <p:cNvSpPr/>
            <p:nvPr/>
          </p:nvSpPr>
          <p:spPr bwMode="gray">
            <a:xfrm>
              <a:off x="3215717" y="-6330900"/>
              <a:ext cx="2959200" cy="2959201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93998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(Münch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QAW_BGMotiv_170206_0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817" t="5000" r="2941" b="4773"/>
          <a:stretch/>
        </p:blipFill>
        <p:spPr bwMode="gray">
          <a:xfrm>
            <a:off x="-21432" y="0"/>
            <a:ext cx="16277431" cy="9166996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0" name="Untertitel 3"/>
          <p:cNvSpPr txBox="1">
            <a:spLocks/>
          </p:cNvSpPr>
          <p:nvPr/>
        </p:nvSpPr>
        <p:spPr bwMode="gray">
          <a:xfrm>
            <a:off x="473872" y="6689917"/>
            <a:ext cx="5883272" cy="204977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QAware</a:t>
            </a:r>
            <a:r>
              <a:rPr lang="de-DE" dirty="0"/>
              <a:t> GmbH München</a:t>
            </a:r>
          </a:p>
          <a:p>
            <a:pPr lvl="1"/>
            <a:r>
              <a:rPr lang="de-DE" dirty="0" err="1"/>
              <a:t>Aschauer</a:t>
            </a:r>
            <a:r>
              <a:rPr lang="de-DE" dirty="0"/>
              <a:t> Straße 32</a:t>
            </a:r>
          </a:p>
          <a:p>
            <a:pPr lvl="1"/>
            <a:r>
              <a:rPr lang="de-DE" dirty="0"/>
              <a:t>81549 München</a:t>
            </a:r>
          </a:p>
          <a:p>
            <a:pPr lvl="1" defTabSz="720000"/>
            <a:r>
              <a:rPr lang="de-DE" dirty="0"/>
              <a:t>Tel.:	+49 (0) 89 23 23 15 – 0</a:t>
            </a:r>
          </a:p>
          <a:p>
            <a:pPr marL="0" marR="0" lvl="1" indent="0" algn="l" defTabSz="7200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ax:	</a:t>
            </a:r>
            <a:r>
              <a:rPr lang="de-DE" baseline="0" dirty="0"/>
              <a:t>+49 (0) 89 23 23 15 – 129</a:t>
            </a:r>
            <a:endParaRPr lang="de-DE" dirty="0"/>
          </a:p>
        </p:txBody>
      </p:sp>
      <p:grpSp>
        <p:nvGrpSpPr>
          <p:cNvPr id="36" name="Gruppieren 35"/>
          <p:cNvGrpSpPr>
            <a:grpSpLocks noChangeAspect="1"/>
          </p:cNvGrpSpPr>
          <p:nvPr userDrawn="1"/>
        </p:nvGrpSpPr>
        <p:grpSpPr bwMode="gray">
          <a:xfrm>
            <a:off x="5596040" y="7299383"/>
            <a:ext cx="414000" cy="414000"/>
            <a:chOff x="-4779963" y="-6330900"/>
            <a:chExt cx="2959200" cy="2959200"/>
          </a:xfrm>
        </p:grpSpPr>
        <p:sp>
          <p:nvSpPr>
            <p:cNvPr id="37" name="Freeform 6"/>
            <p:cNvSpPr>
              <a:spLocks noChangeAspect="1"/>
            </p:cNvSpPr>
            <p:nvPr/>
          </p:nvSpPr>
          <p:spPr bwMode="gray">
            <a:xfrm>
              <a:off x="-4779963" y="-6049220"/>
              <a:ext cx="2959200" cy="2395841"/>
            </a:xfrm>
            <a:custGeom>
              <a:avLst/>
              <a:gdLst>
                <a:gd name="T0" fmla="*/ 101 w 101"/>
                <a:gd name="T1" fmla="*/ 10 h 82"/>
                <a:gd name="T2" fmla="*/ 89 w 101"/>
                <a:gd name="T3" fmla="*/ 13 h 82"/>
                <a:gd name="T4" fmla="*/ 98 w 101"/>
                <a:gd name="T5" fmla="*/ 2 h 82"/>
                <a:gd name="T6" fmla="*/ 85 w 101"/>
                <a:gd name="T7" fmla="*/ 7 h 82"/>
                <a:gd name="T8" fmla="*/ 70 w 101"/>
                <a:gd name="T9" fmla="*/ 0 h 82"/>
                <a:gd name="T10" fmla="*/ 49 w 101"/>
                <a:gd name="T11" fmla="*/ 21 h 82"/>
                <a:gd name="T12" fmla="*/ 50 w 101"/>
                <a:gd name="T13" fmla="*/ 26 h 82"/>
                <a:gd name="T14" fmla="*/ 7 w 101"/>
                <a:gd name="T15" fmla="*/ 4 h 82"/>
                <a:gd name="T16" fmla="*/ 4 w 101"/>
                <a:gd name="T17" fmla="*/ 15 h 82"/>
                <a:gd name="T18" fmla="*/ 13 w 101"/>
                <a:gd name="T19" fmla="*/ 32 h 82"/>
                <a:gd name="T20" fmla="*/ 4 w 101"/>
                <a:gd name="T21" fmla="*/ 29 h 82"/>
                <a:gd name="T22" fmla="*/ 4 w 101"/>
                <a:gd name="T23" fmla="*/ 29 h 82"/>
                <a:gd name="T24" fmla="*/ 21 w 101"/>
                <a:gd name="T25" fmla="*/ 50 h 82"/>
                <a:gd name="T26" fmla="*/ 15 w 101"/>
                <a:gd name="T27" fmla="*/ 50 h 82"/>
                <a:gd name="T28" fmla="*/ 11 w 101"/>
                <a:gd name="T29" fmla="*/ 50 h 82"/>
                <a:gd name="T30" fmla="*/ 31 w 101"/>
                <a:gd name="T31" fmla="*/ 64 h 82"/>
                <a:gd name="T32" fmla="*/ 5 w 101"/>
                <a:gd name="T33" fmla="*/ 73 h 82"/>
                <a:gd name="T34" fmla="*/ 0 w 101"/>
                <a:gd name="T35" fmla="*/ 73 h 82"/>
                <a:gd name="T36" fmla="*/ 32 w 101"/>
                <a:gd name="T37" fmla="*/ 82 h 82"/>
                <a:gd name="T38" fmla="*/ 91 w 101"/>
                <a:gd name="T39" fmla="*/ 23 h 82"/>
                <a:gd name="T40" fmla="*/ 91 w 101"/>
                <a:gd name="T41" fmla="*/ 21 h 82"/>
                <a:gd name="T42" fmla="*/ 101 w 101"/>
                <a:gd name="T43" fmla="*/ 1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82">
                  <a:moveTo>
                    <a:pt x="101" y="10"/>
                  </a:moveTo>
                  <a:cubicBezTo>
                    <a:pt x="97" y="12"/>
                    <a:pt x="93" y="13"/>
                    <a:pt x="89" y="13"/>
                  </a:cubicBezTo>
                  <a:cubicBezTo>
                    <a:pt x="93" y="11"/>
                    <a:pt x="97" y="7"/>
                    <a:pt x="98" y="2"/>
                  </a:cubicBezTo>
                  <a:cubicBezTo>
                    <a:pt x="94" y="4"/>
                    <a:pt x="90" y="6"/>
                    <a:pt x="85" y="7"/>
                  </a:cubicBezTo>
                  <a:cubicBezTo>
                    <a:pt x="81" y="3"/>
                    <a:pt x="76" y="0"/>
                    <a:pt x="70" y="0"/>
                  </a:cubicBezTo>
                  <a:cubicBezTo>
                    <a:pt x="58" y="0"/>
                    <a:pt x="49" y="10"/>
                    <a:pt x="49" y="21"/>
                  </a:cubicBezTo>
                  <a:cubicBezTo>
                    <a:pt x="49" y="23"/>
                    <a:pt x="49" y="24"/>
                    <a:pt x="50" y="26"/>
                  </a:cubicBezTo>
                  <a:cubicBezTo>
                    <a:pt x="32" y="25"/>
                    <a:pt x="17" y="17"/>
                    <a:pt x="7" y="4"/>
                  </a:cubicBezTo>
                  <a:cubicBezTo>
                    <a:pt x="5" y="7"/>
                    <a:pt x="4" y="11"/>
                    <a:pt x="4" y="15"/>
                  </a:cubicBezTo>
                  <a:cubicBezTo>
                    <a:pt x="4" y="22"/>
                    <a:pt x="8" y="28"/>
                    <a:pt x="13" y="32"/>
                  </a:cubicBezTo>
                  <a:cubicBezTo>
                    <a:pt x="10" y="32"/>
                    <a:pt x="7" y="31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9"/>
                    <a:pt x="11" y="48"/>
                    <a:pt x="21" y="50"/>
                  </a:cubicBezTo>
                  <a:cubicBezTo>
                    <a:pt x="19" y="50"/>
                    <a:pt x="17" y="50"/>
                    <a:pt x="15" y="50"/>
                  </a:cubicBezTo>
                  <a:cubicBezTo>
                    <a:pt x="14" y="50"/>
                    <a:pt x="13" y="50"/>
                    <a:pt x="11" y="50"/>
                  </a:cubicBezTo>
                  <a:cubicBezTo>
                    <a:pt x="14" y="58"/>
                    <a:pt x="22" y="64"/>
                    <a:pt x="31" y="64"/>
                  </a:cubicBezTo>
                  <a:cubicBezTo>
                    <a:pt x="24" y="70"/>
                    <a:pt x="15" y="73"/>
                    <a:pt x="5" y="73"/>
                  </a:cubicBezTo>
                  <a:cubicBezTo>
                    <a:pt x="3" y="73"/>
                    <a:pt x="2" y="73"/>
                    <a:pt x="0" y="73"/>
                  </a:cubicBezTo>
                  <a:cubicBezTo>
                    <a:pt x="9" y="79"/>
                    <a:pt x="20" y="82"/>
                    <a:pt x="32" y="82"/>
                  </a:cubicBezTo>
                  <a:cubicBezTo>
                    <a:pt x="70" y="82"/>
                    <a:pt x="91" y="51"/>
                    <a:pt x="91" y="23"/>
                  </a:cubicBezTo>
                  <a:cubicBezTo>
                    <a:pt x="91" y="23"/>
                    <a:pt x="91" y="22"/>
                    <a:pt x="91" y="21"/>
                  </a:cubicBezTo>
                  <a:cubicBezTo>
                    <a:pt x="95" y="18"/>
                    <a:pt x="98" y="14"/>
                    <a:pt x="10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8" name="Rechteck 37"/>
            <p:cNvSpPr/>
            <p:nvPr/>
          </p:nvSpPr>
          <p:spPr bwMode="gray">
            <a:xfrm>
              <a:off x="-4779963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50" name="Gruppieren 49"/>
          <p:cNvGrpSpPr>
            <a:grpSpLocks noChangeAspect="1"/>
          </p:cNvGrpSpPr>
          <p:nvPr userDrawn="1"/>
        </p:nvGrpSpPr>
        <p:grpSpPr bwMode="gray">
          <a:xfrm>
            <a:off x="5596053" y="8328120"/>
            <a:ext cx="414000" cy="414000"/>
            <a:chOff x="7714496" y="-6330900"/>
            <a:chExt cx="2959200" cy="2959200"/>
          </a:xfrm>
        </p:grpSpPr>
        <p:grpSp>
          <p:nvGrpSpPr>
            <p:cNvPr id="53" name="Gruppieren 52"/>
            <p:cNvGrpSpPr>
              <a:grpSpLocks noChangeAspect="1"/>
            </p:cNvGrpSpPr>
            <p:nvPr/>
          </p:nvGrpSpPr>
          <p:grpSpPr bwMode="gray">
            <a:xfrm>
              <a:off x="7931782" y="-6330900"/>
              <a:ext cx="2524628" cy="2959200"/>
              <a:chOff x="-47705963" y="-12906375"/>
              <a:chExt cx="31992888" cy="37499925"/>
            </a:xfrm>
            <a:solidFill>
              <a:schemeClr val="bg1"/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gray">
              <a:xfrm>
                <a:off x="-47705963" y="-5500688"/>
                <a:ext cx="13579475" cy="18867438"/>
              </a:xfrm>
              <a:custGeom>
                <a:avLst/>
                <a:gdLst>
                  <a:gd name="T0" fmla="*/ 786 w 3621"/>
                  <a:gd name="T1" fmla="*/ 0 h 5031"/>
                  <a:gd name="T2" fmla="*/ 589 w 3621"/>
                  <a:gd name="T3" fmla="*/ 90 h 5031"/>
                  <a:gd name="T4" fmla="*/ 597 w 3621"/>
                  <a:gd name="T5" fmla="*/ 311 h 5031"/>
                  <a:gd name="T6" fmla="*/ 1572 w 3621"/>
                  <a:gd name="T7" fmla="*/ 1999 h 5031"/>
                  <a:gd name="T8" fmla="*/ 1572 w 3621"/>
                  <a:gd name="T9" fmla="*/ 2008 h 5031"/>
                  <a:gd name="T10" fmla="*/ 40 w 3621"/>
                  <a:gd name="T11" fmla="*/ 4712 h 5031"/>
                  <a:gd name="T12" fmla="*/ 40 w 3621"/>
                  <a:gd name="T13" fmla="*/ 4933 h 5031"/>
                  <a:gd name="T14" fmla="*/ 229 w 3621"/>
                  <a:gd name="T15" fmla="*/ 5031 h 5031"/>
                  <a:gd name="T16" fmla="*/ 1671 w 3621"/>
                  <a:gd name="T17" fmla="*/ 5031 h 5031"/>
                  <a:gd name="T18" fmla="*/ 2064 w 3621"/>
                  <a:gd name="T19" fmla="*/ 4753 h 5031"/>
                  <a:gd name="T20" fmla="*/ 3621 w 3621"/>
                  <a:gd name="T21" fmla="*/ 1999 h 5031"/>
                  <a:gd name="T22" fmla="*/ 2630 w 3621"/>
                  <a:gd name="T23" fmla="*/ 270 h 5031"/>
                  <a:gd name="T24" fmla="*/ 2228 w 3621"/>
                  <a:gd name="T25" fmla="*/ 0 h 5031"/>
                  <a:gd name="T26" fmla="*/ 786 w 3621"/>
                  <a:gd name="T27" fmla="*/ 0 h 5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21" h="5031">
                    <a:moveTo>
                      <a:pt x="786" y="0"/>
                    </a:moveTo>
                    <a:cubicBezTo>
                      <a:pt x="699" y="0"/>
                      <a:pt x="626" y="31"/>
                      <a:pt x="589" y="90"/>
                    </a:cubicBezTo>
                    <a:cubicBezTo>
                      <a:pt x="551" y="152"/>
                      <a:pt x="557" y="231"/>
                      <a:pt x="597" y="311"/>
                    </a:cubicBezTo>
                    <a:cubicBezTo>
                      <a:pt x="1572" y="1999"/>
                      <a:pt x="1572" y="1999"/>
                      <a:pt x="1572" y="1999"/>
                    </a:cubicBezTo>
                    <a:cubicBezTo>
                      <a:pt x="1574" y="2003"/>
                      <a:pt x="1574" y="2005"/>
                      <a:pt x="1572" y="2008"/>
                    </a:cubicBezTo>
                    <a:cubicBezTo>
                      <a:pt x="40" y="4712"/>
                      <a:pt x="40" y="4712"/>
                      <a:pt x="40" y="4712"/>
                    </a:cubicBezTo>
                    <a:cubicBezTo>
                      <a:pt x="0" y="4791"/>
                      <a:pt x="2" y="4871"/>
                      <a:pt x="40" y="4933"/>
                    </a:cubicBezTo>
                    <a:cubicBezTo>
                      <a:pt x="77" y="4992"/>
                      <a:pt x="142" y="5031"/>
                      <a:pt x="229" y="5031"/>
                    </a:cubicBezTo>
                    <a:cubicBezTo>
                      <a:pt x="1671" y="5031"/>
                      <a:pt x="1671" y="5031"/>
                      <a:pt x="1671" y="5031"/>
                    </a:cubicBezTo>
                    <a:cubicBezTo>
                      <a:pt x="1886" y="5031"/>
                      <a:pt x="1990" y="4886"/>
                      <a:pt x="2064" y="4753"/>
                    </a:cubicBezTo>
                    <a:cubicBezTo>
                      <a:pt x="2064" y="4753"/>
                      <a:pt x="3563" y="2102"/>
                      <a:pt x="3621" y="1999"/>
                    </a:cubicBezTo>
                    <a:cubicBezTo>
                      <a:pt x="3615" y="1990"/>
                      <a:pt x="2630" y="270"/>
                      <a:pt x="2630" y="270"/>
                    </a:cubicBezTo>
                    <a:cubicBezTo>
                      <a:pt x="2558" y="143"/>
                      <a:pt x="2449" y="0"/>
                      <a:pt x="2228" y="0"/>
                    </a:cubicBezTo>
                    <a:cubicBezTo>
                      <a:pt x="786" y="0"/>
                      <a:pt x="786" y="0"/>
                      <a:pt x="78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gray">
              <a:xfrm>
                <a:off x="-35521900" y="-12906375"/>
                <a:ext cx="19808825" cy="37499925"/>
              </a:xfrm>
              <a:custGeom>
                <a:avLst/>
                <a:gdLst>
                  <a:gd name="T0" fmla="*/ 3596 w 5282"/>
                  <a:gd name="T1" fmla="*/ 0 h 10000"/>
                  <a:gd name="T2" fmla="*/ 3210 w 5282"/>
                  <a:gd name="T3" fmla="*/ 275 h 10000"/>
                  <a:gd name="T4" fmla="*/ 0 w 5282"/>
                  <a:gd name="T5" fmla="*/ 5966 h 10000"/>
                  <a:gd name="T6" fmla="*/ 2049 w 5282"/>
                  <a:gd name="T7" fmla="*/ 9725 h 10000"/>
                  <a:gd name="T8" fmla="*/ 2452 w 5282"/>
                  <a:gd name="T9" fmla="*/ 10000 h 10000"/>
                  <a:gd name="T10" fmla="*/ 3893 w 5282"/>
                  <a:gd name="T11" fmla="*/ 10000 h 10000"/>
                  <a:gd name="T12" fmla="*/ 4084 w 5282"/>
                  <a:gd name="T13" fmla="*/ 9908 h 10000"/>
                  <a:gd name="T14" fmla="*/ 4081 w 5282"/>
                  <a:gd name="T15" fmla="*/ 9685 h 10000"/>
                  <a:gd name="T16" fmla="*/ 2048 w 5282"/>
                  <a:gd name="T17" fmla="*/ 5970 h 10000"/>
                  <a:gd name="T18" fmla="*/ 2048 w 5282"/>
                  <a:gd name="T19" fmla="*/ 5961 h 10000"/>
                  <a:gd name="T20" fmla="*/ 5241 w 5282"/>
                  <a:gd name="T21" fmla="*/ 315 h 10000"/>
                  <a:gd name="T22" fmla="*/ 5244 w 5282"/>
                  <a:gd name="T23" fmla="*/ 92 h 10000"/>
                  <a:gd name="T24" fmla="*/ 5053 w 5282"/>
                  <a:gd name="T25" fmla="*/ 0 h 10000"/>
                  <a:gd name="T26" fmla="*/ 3596 w 5282"/>
                  <a:gd name="T27" fmla="*/ 0 h 10000"/>
                  <a:gd name="T28" fmla="*/ 3596 w 5282"/>
                  <a:gd name="T29" fmla="*/ 0 h 10000"/>
                  <a:gd name="T30" fmla="*/ 3596 w 5282"/>
                  <a:gd name="T31" fmla="*/ 0 h 10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82" h="10000">
                    <a:moveTo>
                      <a:pt x="3596" y="0"/>
                    </a:moveTo>
                    <a:cubicBezTo>
                      <a:pt x="3380" y="0"/>
                      <a:pt x="3287" y="136"/>
                      <a:pt x="3210" y="275"/>
                    </a:cubicBezTo>
                    <a:cubicBezTo>
                      <a:pt x="3210" y="275"/>
                      <a:pt x="103" y="5785"/>
                      <a:pt x="0" y="5966"/>
                    </a:cubicBezTo>
                    <a:cubicBezTo>
                      <a:pt x="5" y="5975"/>
                      <a:pt x="2049" y="9725"/>
                      <a:pt x="2049" y="9725"/>
                    </a:cubicBezTo>
                    <a:cubicBezTo>
                      <a:pt x="2121" y="9853"/>
                      <a:pt x="2231" y="10000"/>
                      <a:pt x="2452" y="10000"/>
                    </a:cubicBezTo>
                    <a:cubicBezTo>
                      <a:pt x="3893" y="10000"/>
                      <a:pt x="3893" y="10000"/>
                      <a:pt x="3893" y="10000"/>
                    </a:cubicBezTo>
                    <a:cubicBezTo>
                      <a:pt x="3980" y="10000"/>
                      <a:pt x="4048" y="9967"/>
                      <a:pt x="4084" y="9908"/>
                    </a:cubicBezTo>
                    <a:cubicBezTo>
                      <a:pt x="4123" y="9846"/>
                      <a:pt x="4122" y="9765"/>
                      <a:pt x="4081" y="9685"/>
                    </a:cubicBezTo>
                    <a:cubicBezTo>
                      <a:pt x="2048" y="5970"/>
                      <a:pt x="2048" y="5970"/>
                      <a:pt x="2048" y="5970"/>
                    </a:cubicBezTo>
                    <a:cubicBezTo>
                      <a:pt x="2046" y="5967"/>
                      <a:pt x="2046" y="5964"/>
                      <a:pt x="2048" y="5961"/>
                    </a:cubicBezTo>
                    <a:cubicBezTo>
                      <a:pt x="5241" y="315"/>
                      <a:pt x="5241" y="315"/>
                      <a:pt x="5241" y="315"/>
                    </a:cubicBezTo>
                    <a:cubicBezTo>
                      <a:pt x="5281" y="235"/>
                      <a:pt x="5282" y="154"/>
                      <a:pt x="5244" y="92"/>
                    </a:cubicBezTo>
                    <a:cubicBezTo>
                      <a:pt x="5208" y="33"/>
                      <a:pt x="5139" y="0"/>
                      <a:pt x="5053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54" name="Rechteck 53"/>
            <p:cNvSpPr/>
            <p:nvPr/>
          </p:nvSpPr>
          <p:spPr bwMode="gray">
            <a:xfrm>
              <a:off x="7714496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57" name="Gruppieren 56"/>
          <p:cNvGrpSpPr>
            <a:grpSpLocks noChangeAspect="1"/>
          </p:cNvGrpSpPr>
          <p:nvPr userDrawn="1"/>
        </p:nvGrpSpPr>
        <p:grpSpPr bwMode="gray">
          <a:xfrm>
            <a:off x="11503639" y="7811351"/>
            <a:ext cx="414000" cy="414000"/>
            <a:chOff x="12597120" y="-6330900"/>
            <a:chExt cx="2959200" cy="2959200"/>
          </a:xfrm>
        </p:grpSpPr>
        <p:grpSp>
          <p:nvGrpSpPr>
            <p:cNvPr id="58" name="Gruppieren 57"/>
            <p:cNvGrpSpPr>
              <a:grpSpLocks noChangeAspect="1"/>
            </p:cNvGrpSpPr>
            <p:nvPr/>
          </p:nvGrpSpPr>
          <p:grpSpPr bwMode="gray">
            <a:xfrm>
              <a:off x="12597120" y="-5830347"/>
              <a:ext cx="2959200" cy="1958094"/>
              <a:chOff x="-4948238" y="12076113"/>
              <a:chExt cx="1384300" cy="915987"/>
            </a:xfrm>
            <a:solidFill>
              <a:schemeClr val="bg1"/>
            </a:solidFill>
          </p:grpSpPr>
          <p:sp>
            <p:nvSpPr>
              <p:cNvPr id="60" name="Freeform 31"/>
              <p:cNvSpPr>
                <a:spLocks/>
              </p:cNvSpPr>
              <p:nvPr/>
            </p:nvSpPr>
            <p:spPr bwMode="gray">
              <a:xfrm>
                <a:off x="-4948238" y="12279313"/>
                <a:ext cx="1384300" cy="712787"/>
              </a:xfrm>
              <a:custGeom>
                <a:avLst/>
                <a:gdLst>
                  <a:gd name="T0" fmla="*/ 356 w 369"/>
                  <a:gd name="T1" fmla="*/ 29 h 190"/>
                  <a:gd name="T2" fmla="*/ 286 w 369"/>
                  <a:gd name="T3" fmla="*/ 78 h 190"/>
                  <a:gd name="T4" fmla="*/ 286 w 369"/>
                  <a:gd name="T5" fmla="*/ 135 h 190"/>
                  <a:gd name="T6" fmla="*/ 236 w 369"/>
                  <a:gd name="T7" fmla="*/ 190 h 190"/>
                  <a:gd name="T8" fmla="*/ 184 w 369"/>
                  <a:gd name="T9" fmla="*/ 158 h 190"/>
                  <a:gd name="T10" fmla="*/ 184 w 369"/>
                  <a:gd name="T11" fmla="*/ 105 h 190"/>
                  <a:gd name="T12" fmla="*/ 172 w 369"/>
                  <a:gd name="T13" fmla="*/ 101 h 190"/>
                  <a:gd name="T14" fmla="*/ 172 w 369"/>
                  <a:gd name="T15" fmla="*/ 158 h 190"/>
                  <a:gd name="T16" fmla="*/ 138 w 369"/>
                  <a:gd name="T17" fmla="*/ 181 h 190"/>
                  <a:gd name="T18" fmla="*/ 82 w 369"/>
                  <a:gd name="T19" fmla="*/ 135 h 190"/>
                  <a:gd name="T20" fmla="*/ 82 w 369"/>
                  <a:gd name="T21" fmla="*/ 74 h 190"/>
                  <a:gd name="T22" fmla="*/ 18 w 369"/>
                  <a:gd name="T23" fmla="*/ 39 h 190"/>
                  <a:gd name="T24" fmla="*/ 3 w 369"/>
                  <a:gd name="T25" fmla="*/ 9 h 190"/>
                  <a:gd name="T26" fmla="*/ 68 w 369"/>
                  <a:gd name="T27" fmla="*/ 39 h 190"/>
                  <a:gd name="T28" fmla="*/ 147 w 369"/>
                  <a:gd name="T29" fmla="*/ 46 h 190"/>
                  <a:gd name="T30" fmla="*/ 182 w 369"/>
                  <a:gd name="T31" fmla="*/ 61 h 190"/>
                  <a:gd name="T32" fmla="*/ 184 w 369"/>
                  <a:gd name="T33" fmla="*/ 62 h 190"/>
                  <a:gd name="T34" fmla="*/ 184 w 369"/>
                  <a:gd name="T35" fmla="*/ 56 h 190"/>
                  <a:gd name="T36" fmla="*/ 218 w 369"/>
                  <a:gd name="T37" fmla="*/ 44 h 190"/>
                  <a:gd name="T38" fmla="*/ 275 w 369"/>
                  <a:gd name="T39" fmla="*/ 44 h 190"/>
                  <a:gd name="T40" fmla="*/ 345 w 369"/>
                  <a:gd name="T41" fmla="*/ 14 h 190"/>
                  <a:gd name="T42" fmla="*/ 356 w 369"/>
                  <a:gd name="T4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9" h="190">
                    <a:moveTo>
                      <a:pt x="356" y="29"/>
                    </a:moveTo>
                    <a:cubicBezTo>
                      <a:pt x="343" y="56"/>
                      <a:pt x="314" y="64"/>
                      <a:pt x="286" y="78"/>
                    </a:cubicBezTo>
                    <a:cubicBezTo>
                      <a:pt x="286" y="99"/>
                      <a:pt x="286" y="127"/>
                      <a:pt x="286" y="135"/>
                    </a:cubicBezTo>
                    <a:cubicBezTo>
                      <a:pt x="286" y="143"/>
                      <a:pt x="276" y="190"/>
                      <a:pt x="236" y="190"/>
                    </a:cubicBezTo>
                    <a:cubicBezTo>
                      <a:pt x="197" y="190"/>
                      <a:pt x="184" y="167"/>
                      <a:pt x="184" y="158"/>
                    </a:cubicBezTo>
                    <a:cubicBezTo>
                      <a:pt x="184" y="154"/>
                      <a:pt x="184" y="129"/>
                      <a:pt x="184" y="105"/>
                    </a:cubicBezTo>
                    <a:cubicBezTo>
                      <a:pt x="180" y="104"/>
                      <a:pt x="176" y="103"/>
                      <a:pt x="172" y="101"/>
                    </a:cubicBezTo>
                    <a:cubicBezTo>
                      <a:pt x="172" y="123"/>
                      <a:pt x="172" y="149"/>
                      <a:pt x="172" y="158"/>
                    </a:cubicBezTo>
                    <a:cubicBezTo>
                      <a:pt x="172" y="167"/>
                      <a:pt x="158" y="181"/>
                      <a:pt x="138" y="181"/>
                    </a:cubicBezTo>
                    <a:cubicBezTo>
                      <a:pt x="119" y="181"/>
                      <a:pt x="82" y="153"/>
                      <a:pt x="82" y="135"/>
                    </a:cubicBezTo>
                    <a:cubicBezTo>
                      <a:pt x="82" y="117"/>
                      <a:pt x="82" y="74"/>
                      <a:pt x="82" y="74"/>
                    </a:cubicBezTo>
                    <a:cubicBezTo>
                      <a:pt x="82" y="74"/>
                      <a:pt x="30" y="53"/>
                      <a:pt x="18" y="39"/>
                    </a:cubicBezTo>
                    <a:cubicBezTo>
                      <a:pt x="6" y="24"/>
                      <a:pt x="0" y="18"/>
                      <a:pt x="3" y="9"/>
                    </a:cubicBezTo>
                    <a:cubicBezTo>
                      <a:pt x="6" y="1"/>
                      <a:pt x="45" y="33"/>
                      <a:pt x="68" y="39"/>
                    </a:cubicBezTo>
                    <a:cubicBezTo>
                      <a:pt x="90" y="44"/>
                      <a:pt x="130" y="47"/>
                      <a:pt x="147" y="46"/>
                    </a:cubicBezTo>
                    <a:cubicBezTo>
                      <a:pt x="163" y="45"/>
                      <a:pt x="173" y="52"/>
                      <a:pt x="182" y="61"/>
                    </a:cubicBezTo>
                    <a:cubicBezTo>
                      <a:pt x="183" y="61"/>
                      <a:pt x="183" y="62"/>
                      <a:pt x="184" y="62"/>
                    </a:cubicBezTo>
                    <a:cubicBezTo>
                      <a:pt x="184" y="58"/>
                      <a:pt x="184" y="56"/>
                      <a:pt x="184" y="56"/>
                    </a:cubicBezTo>
                    <a:cubicBezTo>
                      <a:pt x="184" y="48"/>
                      <a:pt x="205" y="44"/>
                      <a:pt x="218" y="44"/>
                    </a:cubicBezTo>
                    <a:cubicBezTo>
                      <a:pt x="231" y="44"/>
                      <a:pt x="268" y="44"/>
                      <a:pt x="275" y="44"/>
                    </a:cubicBezTo>
                    <a:cubicBezTo>
                      <a:pt x="281" y="44"/>
                      <a:pt x="333" y="27"/>
                      <a:pt x="345" y="14"/>
                    </a:cubicBezTo>
                    <a:cubicBezTo>
                      <a:pt x="357" y="0"/>
                      <a:pt x="369" y="4"/>
                      <a:pt x="35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Oval 32"/>
              <p:cNvSpPr>
                <a:spLocks noChangeArrowheads="1"/>
              </p:cNvSpPr>
              <p:nvPr/>
            </p:nvSpPr>
            <p:spPr bwMode="gray">
              <a:xfrm>
                <a:off x="-4210050" y="12076113"/>
                <a:ext cx="300038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Oval 33"/>
              <p:cNvSpPr>
                <a:spLocks noChangeArrowheads="1"/>
              </p:cNvSpPr>
              <p:nvPr/>
            </p:nvSpPr>
            <p:spPr bwMode="gray">
              <a:xfrm>
                <a:off x="-4602163" y="12076113"/>
                <a:ext cx="298450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59" name="Rechteck 58"/>
            <p:cNvSpPr/>
            <p:nvPr/>
          </p:nvSpPr>
          <p:spPr bwMode="gray">
            <a:xfrm>
              <a:off x="12597120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63" name="Gruppieren 62"/>
          <p:cNvGrpSpPr>
            <a:grpSpLocks noChangeAspect="1"/>
          </p:cNvGrpSpPr>
          <p:nvPr userDrawn="1"/>
        </p:nvGrpSpPr>
        <p:grpSpPr bwMode="gray">
          <a:xfrm>
            <a:off x="5596040" y="7811351"/>
            <a:ext cx="413907" cy="414000"/>
            <a:chOff x="-417837" y="-6330900"/>
            <a:chExt cx="2959200" cy="2959864"/>
          </a:xfrm>
        </p:grpSpPr>
        <p:grpSp>
          <p:nvGrpSpPr>
            <p:cNvPr id="64" name="Gruppieren 63"/>
            <p:cNvGrpSpPr>
              <a:grpSpLocks noChangeAspect="1"/>
            </p:cNvGrpSpPr>
            <p:nvPr/>
          </p:nvGrpSpPr>
          <p:grpSpPr bwMode="gray">
            <a:xfrm>
              <a:off x="-417742" y="-6330900"/>
              <a:ext cx="2959010" cy="2959864"/>
              <a:chOff x="-14173201" y="7094538"/>
              <a:chExt cx="10999788" cy="11002963"/>
            </a:xfrm>
          </p:grpSpPr>
          <p:sp>
            <p:nvSpPr>
              <p:cNvPr id="66" name="Freeform 20"/>
              <p:cNvSpPr>
                <a:spLocks noEditPoints="1"/>
              </p:cNvSpPr>
              <p:nvPr/>
            </p:nvSpPr>
            <p:spPr bwMode="gray">
              <a:xfrm>
                <a:off x="-14173201" y="7094538"/>
                <a:ext cx="2670175" cy="11002963"/>
              </a:xfrm>
              <a:custGeom>
                <a:avLst/>
                <a:gdLst>
                  <a:gd name="T0" fmla="*/ 2 w 25"/>
                  <a:gd name="T1" fmla="*/ 34 h 103"/>
                  <a:gd name="T2" fmla="*/ 23 w 25"/>
                  <a:gd name="T3" fmla="*/ 34 h 103"/>
                  <a:gd name="T4" fmla="*/ 23 w 25"/>
                  <a:gd name="T5" fmla="*/ 103 h 103"/>
                  <a:gd name="T6" fmla="*/ 2 w 25"/>
                  <a:gd name="T7" fmla="*/ 103 h 103"/>
                  <a:gd name="T8" fmla="*/ 2 w 25"/>
                  <a:gd name="T9" fmla="*/ 34 h 103"/>
                  <a:gd name="T10" fmla="*/ 13 w 25"/>
                  <a:gd name="T11" fmla="*/ 0 h 103"/>
                  <a:gd name="T12" fmla="*/ 25 w 25"/>
                  <a:gd name="T13" fmla="*/ 12 h 103"/>
                  <a:gd name="T14" fmla="*/ 13 w 25"/>
                  <a:gd name="T15" fmla="*/ 25 h 103"/>
                  <a:gd name="T16" fmla="*/ 0 w 25"/>
                  <a:gd name="T17" fmla="*/ 12 h 103"/>
                  <a:gd name="T18" fmla="*/ 13 w 25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103">
                    <a:moveTo>
                      <a:pt x="2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" y="103"/>
                      <a:pt x="2" y="103"/>
                      <a:pt x="2" y="103"/>
                    </a:cubicBezTo>
                    <a:lnTo>
                      <a:pt x="2" y="34"/>
                    </a:lnTo>
                    <a:close/>
                    <a:moveTo>
                      <a:pt x="13" y="0"/>
                    </a:moveTo>
                    <a:cubicBezTo>
                      <a:pt x="20" y="0"/>
                      <a:pt x="25" y="6"/>
                      <a:pt x="25" y="12"/>
                    </a:cubicBezTo>
                    <a:cubicBezTo>
                      <a:pt x="25" y="19"/>
                      <a:pt x="20" y="25"/>
                      <a:pt x="13" y="25"/>
                    </a:cubicBezTo>
                    <a:cubicBezTo>
                      <a:pt x="6" y="25"/>
                      <a:pt x="0" y="19"/>
                      <a:pt x="0" y="12"/>
                    </a:cubicBezTo>
                    <a:cubicBezTo>
                      <a:pt x="0" y="6"/>
                      <a:pt x="6" y="0"/>
                      <a:pt x="1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1"/>
              <p:cNvSpPr>
                <a:spLocks/>
              </p:cNvSpPr>
              <p:nvPr/>
            </p:nvSpPr>
            <p:spPr bwMode="gray">
              <a:xfrm>
                <a:off x="-10221913" y="10512425"/>
                <a:ext cx="7048500" cy="7585075"/>
              </a:xfrm>
              <a:custGeom>
                <a:avLst/>
                <a:gdLst>
                  <a:gd name="T0" fmla="*/ 0 w 66"/>
                  <a:gd name="T1" fmla="*/ 2 h 71"/>
                  <a:gd name="T2" fmla="*/ 20 w 66"/>
                  <a:gd name="T3" fmla="*/ 2 h 71"/>
                  <a:gd name="T4" fmla="*/ 20 w 66"/>
                  <a:gd name="T5" fmla="*/ 11 h 71"/>
                  <a:gd name="T6" fmla="*/ 20 w 66"/>
                  <a:gd name="T7" fmla="*/ 11 h 71"/>
                  <a:gd name="T8" fmla="*/ 41 w 66"/>
                  <a:gd name="T9" fmla="*/ 0 h 71"/>
                  <a:gd name="T10" fmla="*/ 66 w 66"/>
                  <a:gd name="T11" fmla="*/ 33 h 71"/>
                  <a:gd name="T12" fmla="*/ 66 w 66"/>
                  <a:gd name="T13" fmla="*/ 71 h 71"/>
                  <a:gd name="T14" fmla="*/ 45 w 66"/>
                  <a:gd name="T15" fmla="*/ 71 h 71"/>
                  <a:gd name="T16" fmla="*/ 45 w 66"/>
                  <a:gd name="T17" fmla="*/ 37 h 71"/>
                  <a:gd name="T18" fmla="*/ 34 w 66"/>
                  <a:gd name="T19" fmla="*/ 19 h 71"/>
                  <a:gd name="T20" fmla="*/ 21 w 66"/>
                  <a:gd name="T21" fmla="*/ 37 h 71"/>
                  <a:gd name="T22" fmla="*/ 21 w 66"/>
                  <a:gd name="T23" fmla="*/ 71 h 71"/>
                  <a:gd name="T24" fmla="*/ 0 w 66"/>
                  <a:gd name="T25" fmla="*/ 71 h 71"/>
                  <a:gd name="T26" fmla="*/ 0 w 66"/>
                  <a:gd name="T27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71">
                    <a:moveTo>
                      <a:pt x="0" y="2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3" y="6"/>
                      <a:pt x="30" y="0"/>
                      <a:pt x="41" y="0"/>
                    </a:cubicBezTo>
                    <a:cubicBezTo>
                      <a:pt x="62" y="0"/>
                      <a:pt x="66" y="15"/>
                      <a:pt x="66" y="33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45" y="71"/>
                      <a:pt x="45" y="71"/>
                      <a:pt x="45" y="71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29"/>
                      <a:pt x="45" y="19"/>
                      <a:pt x="34" y="19"/>
                    </a:cubicBezTo>
                    <a:cubicBezTo>
                      <a:pt x="23" y="19"/>
                      <a:pt x="21" y="28"/>
                      <a:pt x="21" y="37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0" y="71"/>
                      <a:pt x="0" y="71"/>
                      <a:pt x="0" y="71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65" name="Rechteck 64"/>
            <p:cNvSpPr/>
            <p:nvPr/>
          </p:nvSpPr>
          <p:spPr bwMode="gray">
            <a:xfrm>
              <a:off x="-417837" y="-6330568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73" name="Gruppieren 72"/>
          <p:cNvGrpSpPr/>
          <p:nvPr userDrawn="1"/>
        </p:nvGrpSpPr>
        <p:grpSpPr>
          <a:xfrm>
            <a:off x="11538986" y="8330098"/>
            <a:ext cx="347275" cy="412022"/>
            <a:chOff x="10944225" y="5821363"/>
            <a:chExt cx="374650" cy="444501"/>
          </a:xfrm>
          <a:solidFill>
            <a:schemeClr val="bg1"/>
          </a:solidFill>
        </p:grpSpPr>
        <p:sp>
          <p:nvSpPr>
            <p:cNvPr id="74" name="Freeform 16"/>
            <p:cNvSpPr>
              <a:spLocks noEditPoints="1"/>
            </p:cNvSpPr>
            <p:nvPr userDrawn="1"/>
          </p:nvSpPr>
          <p:spPr bwMode="auto">
            <a:xfrm>
              <a:off x="11158538" y="6108701"/>
              <a:ext cx="22225" cy="87313"/>
            </a:xfrm>
            <a:custGeom>
              <a:avLst/>
              <a:gdLst>
                <a:gd name="T0" fmla="*/ 46 w 87"/>
                <a:gd name="T1" fmla="*/ 0 h 359"/>
                <a:gd name="T2" fmla="*/ 0 w 87"/>
                <a:gd name="T3" fmla="*/ 23 h 359"/>
                <a:gd name="T4" fmla="*/ 0 w 87"/>
                <a:gd name="T5" fmla="*/ 336 h 359"/>
                <a:gd name="T6" fmla="*/ 46 w 87"/>
                <a:gd name="T7" fmla="*/ 359 h 359"/>
                <a:gd name="T8" fmla="*/ 87 w 87"/>
                <a:gd name="T9" fmla="*/ 290 h 359"/>
                <a:gd name="T10" fmla="*/ 87 w 87"/>
                <a:gd name="T11" fmla="*/ 70 h 359"/>
                <a:gd name="T12" fmla="*/ 46 w 87"/>
                <a:gd name="T13" fmla="*/ 0 h 359"/>
                <a:gd name="T14" fmla="*/ 46 w 87"/>
                <a:gd name="T15" fmla="*/ 0 h 359"/>
                <a:gd name="T16" fmla="*/ 46 w 87"/>
                <a:gd name="T17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359">
                  <a:moveTo>
                    <a:pt x="46" y="0"/>
                  </a:moveTo>
                  <a:cubicBezTo>
                    <a:pt x="31" y="0"/>
                    <a:pt x="15" y="8"/>
                    <a:pt x="0" y="23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15" y="352"/>
                    <a:pt x="31" y="359"/>
                    <a:pt x="46" y="359"/>
                  </a:cubicBezTo>
                  <a:cubicBezTo>
                    <a:pt x="73" y="359"/>
                    <a:pt x="87" y="336"/>
                    <a:pt x="87" y="29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24"/>
                    <a:pt x="73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17"/>
            <p:cNvSpPr>
              <a:spLocks noEditPoints="1"/>
            </p:cNvSpPr>
            <p:nvPr userDrawn="1"/>
          </p:nvSpPr>
          <p:spPr bwMode="auto">
            <a:xfrm>
              <a:off x="11242675" y="6108701"/>
              <a:ext cx="22225" cy="30163"/>
            </a:xfrm>
            <a:custGeom>
              <a:avLst/>
              <a:gdLst>
                <a:gd name="T0" fmla="*/ 46 w 93"/>
                <a:gd name="T1" fmla="*/ 0 h 119"/>
                <a:gd name="T2" fmla="*/ 0 w 93"/>
                <a:gd name="T3" fmla="*/ 72 h 119"/>
                <a:gd name="T4" fmla="*/ 0 w 93"/>
                <a:gd name="T5" fmla="*/ 119 h 119"/>
                <a:gd name="T6" fmla="*/ 93 w 93"/>
                <a:gd name="T7" fmla="*/ 119 h 119"/>
                <a:gd name="T8" fmla="*/ 93 w 93"/>
                <a:gd name="T9" fmla="*/ 72 h 119"/>
                <a:gd name="T10" fmla="*/ 46 w 93"/>
                <a:gd name="T11" fmla="*/ 0 h 119"/>
                <a:gd name="T12" fmla="*/ 46 w 93"/>
                <a:gd name="T13" fmla="*/ 0 h 119"/>
                <a:gd name="T14" fmla="*/ 46 w 93"/>
                <a:gd name="T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19">
                  <a:moveTo>
                    <a:pt x="46" y="0"/>
                  </a:moveTo>
                  <a:cubicBezTo>
                    <a:pt x="15" y="0"/>
                    <a:pt x="0" y="24"/>
                    <a:pt x="0" y="72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24"/>
                    <a:pt x="77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18"/>
            <p:cNvSpPr>
              <a:spLocks noEditPoints="1"/>
            </p:cNvSpPr>
            <p:nvPr userDrawn="1"/>
          </p:nvSpPr>
          <p:spPr bwMode="auto">
            <a:xfrm>
              <a:off x="10944225" y="6003926"/>
              <a:ext cx="374650" cy="261938"/>
            </a:xfrm>
            <a:custGeom>
              <a:avLst/>
              <a:gdLst>
                <a:gd name="T0" fmla="*/ 1308 w 1538"/>
                <a:gd name="T1" fmla="*/ 16 h 1075"/>
                <a:gd name="T2" fmla="*/ 769 w 1538"/>
                <a:gd name="T3" fmla="*/ 0 h 1075"/>
                <a:gd name="T4" fmla="*/ 76 w 1538"/>
                <a:gd name="T5" fmla="*/ 80 h 1075"/>
                <a:gd name="T6" fmla="*/ 0 w 1538"/>
                <a:gd name="T7" fmla="*/ 479 h 1075"/>
                <a:gd name="T8" fmla="*/ 15 w 1538"/>
                <a:gd name="T9" fmla="*/ 843 h 1075"/>
                <a:gd name="T10" fmla="*/ 246 w 1538"/>
                <a:gd name="T11" fmla="*/ 1060 h 1075"/>
                <a:gd name="T12" fmla="*/ 1308 w 1538"/>
                <a:gd name="T13" fmla="*/ 1059 h 1075"/>
                <a:gd name="T14" fmla="*/ 1523 w 1538"/>
                <a:gd name="T15" fmla="*/ 843 h 1075"/>
                <a:gd name="T16" fmla="*/ 1538 w 1538"/>
                <a:gd name="T17" fmla="*/ 479 h 1075"/>
                <a:gd name="T18" fmla="*/ 1462 w 1538"/>
                <a:gd name="T19" fmla="*/ 80 h 1075"/>
                <a:gd name="T20" fmla="*/ 235 w 1538"/>
                <a:gd name="T21" fmla="*/ 870 h 1075"/>
                <a:gd name="T22" fmla="*/ 125 w 1538"/>
                <a:gd name="T23" fmla="*/ 277 h 1075"/>
                <a:gd name="T24" fmla="*/ 451 w 1538"/>
                <a:gd name="T25" fmla="*/ 180 h 1075"/>
                <a:gd name="T26" fmla="*/ 339 w 1538"/>
                <a:gd name="T27" fmla="*/ 277 h 1075"/>
                <a:gd name="T28" fmla="*/ 707 w 1538"/>
                <a:gd name="T29" fmla="*/ 870 h 1075"/>
                <a:gd name="T30" fmla="*/ 613 w 1538"/>
                <a:gd name="T31" fmla="*/ 813 h 1075"/>
                <a:gd name="T32" fmla="*/ 447 w 1538"/>
                <a:gd name="T33" fmla="*/ 838 h 1075"/>
                <a:gd name="T34" fmla="*/ 438 w 1538"/>
                <a:gd name="T35" fmla="*/ 356 h 1075"/>
                <a:gd name="T36" fmla="*/ 532 w 1538"/>
                <a:gd name="T37" fmla="*/ 734 h 1075"/>
                <a:gd name="T38" fmla="*/ 554 w 1538"/>
                <a:gd name="T39" fmla="*/ 792 h 1075"/>
                <a:gd name="T40" fmla="*/ 613 w 1538"/>
                <a:gd name="T41" fmla="*/ 356 h 1075"/>
                <a:gd name="T42" fmla="*/ 707 w 1538"/>
                <a:gd name="T43" fmla="*/ 870 h 1075"/>
                <a:gd name="T44" fmla="*/ 1052 w 1538"/>
                <a:gd name="T45" fmla="*/ 819 h 1075"/>
                <a:gd name="T46" fmla="*/ 881 w 1538"/>
                <a:gd name="T47" fmla="*/ 820 h 1075"/>
                <a:gd name="T48" fmla="*/ 787 w 1538"/>
                <a:gd name="T49" fmla="*/ 870 h 1075"/>
                <a:gd name="T50" fmla="*/ 881 w 1538"/>
                <a:gd name="T51" fmla="*/ 180 h 1075"/>
                <a:gd name="T52" fmla="*/ 977 w 1538"/>
                <a:gd name="T53" fmla="*/ 349 h 1075"/>
                <a:gd name="T54" fmla="*/ 1061 w 1538"/>
                <a:gd name="T55" fmla="*/ 511 h 1075"/>
                <a:gd name="T56" fmla="*/ 1408 w 1538"/>
                <a:gd name="T57" fmla="*/ 630 h 1075"/>
                <a:gd name="T58" fmla="*/ 1222 w 1538"/>
                <a:gd name="T59" fmla="*/ 721 h 1075"/>
                <a:gd name="T60" fmla="*/ 1311 w 1538"/>
                <a:gd name="T61" fmla="*/ 755 h 1075"/>
                <a:gd name="T62" fmla="*/ 1408 w 1538"/>
                <a:gd name="T63" fmla="*/ 692 h 1075"/>
                <a:gd name="T64" fmla="*/ 1406 w 1538"/>
                <a:gd name="T65" fmla="*/ 765 h 1075"/>
                <a:gd name="T66" fmla="*/ 1271 w 1538"/>
                <a:gd name="T67" fmla="*/ 877 h 1075"/>
                <a:gd name="T68" fmla="*/ 1129 w 1538"/>
                <a:gd name="T69" fmla="*/ 703 h 1075"/>
                <a:gd name="T70" fmla="*/ 1157 w 1538"/>
                <a:gd name="T71" fmla="*/ 402 h 1075"/>
                <a:gd name="T72" fmla="*/ 1379 w 1538"/>
                <a:gd name="T73" fmla="*/ 402 h 1075"/>
                <a:gd name="T74" fmla="*/ 1408 w 1538"/>
                <a:gd name="T75" fmla="*/ 630 h 1075"/>
                <a:gd name="T76" fmla="*/ 1408 w 1538"/>
                <a:gd name="T77" fmla="*/ 630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38" h="1075">
                  <a:moveTo>
                    <a:pt x="1462" y="80"/>
                  </a:moveTo>
                  <a:cubicBezTo>
                    <a:pt x="1403" y="19"/>
                    <a:pt x="1338" y="19"/>
                    <a:pt x="1308" y="16"/>
                  </a:cubicBezTo>
                  <a:cubicBezTo>
                    <a:pt x="1092" y="0"/>
                    <a:pt x="769" y="0"/>
                    <a:pt x="769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69" y="0"/>
                    <a:pt x="446" y="0"/>
                    <a:pt x="230" y="16"/>
                  </a:cubicBezTo>
                  <a:cubicBezTo>
                    <a:pt x="200" y="19"/>
                    <a:pt x="135" y="19"/>
                    <a:pt x="76" y="80"/>
                  </a:cubicBezTo>
                  <a:cubicBezTo>
                    <a:pt x="30" y="127"/>
                    <a:pt x="15" y="232"/>
                    <a:pt x="15" y="232"/>
                  </a:cubicBezTo>
                  <a:cubicBezTo>
                    <a:pt x="15" y="232"/>
                    <a:pt x="0" y="356"/>
                    <a:pt x="0" y="479"/>
                  </a:cubicBezTo>
                  <a:cubicBezTo>
                    <a:pt x="0" y="595"/>
                    <a:pt x="0" y="595"/>
                    <a:pt x="0" y="595"/>
                  </a:cubicBezTo>
                  <a:cubicBezTo>
                    <a:pt x="0" y="719"/>
                    <a:pt x="15" y="843"/>
                    <a:pt x="15" y="843"/>
                  </a:cubicBezTo>
                  <a:cubicBezTo>
                    <a:pt x="15" y="843"/>
                    <a:pt x="30" y="948"/>
                    <a:pt x="76" y="995"/>
                  </a:cubicBezTo>
                  <a:cubicBezTo>
                    <a:pt x="135" y="1055"/>
                    <a:pt x="212" y="1053"/>
                    <a:pt x="246" y="1060"/>
                  </a:cubicBezTo>
                  <a:cubicBezTo>
                    <a:pt x="369" y="1072"/>
                    <a:pt x="769" y="1075"/>
                    <a:pt x="769" y="1075"/>
                  </a:cubicBezTo>
                  <a:cubicBezTo>
                    <a:pt x="769" y="1075"/>
                    <a:pt x="1092" y="1075"/>
                    <a:pt x="1308" y="1059"/>
                  </a:cubicBezTo>
                  <a:cubicBezTo>
                    <a:pt x="1338" y="1056"/>
                    <a:pt x="1403" y="1055"/>
                    <a:pt x="1462" y="995"/>
                  </a:cubicBezTo>
                  <a:cubicBezTo>
                    <a:pt x="1508" y="948"/>
                    <a:pt x="1523" y="843"/>
                    <a:pt x="1523" y="843"/>
                  </a:cubicBezTo>
                  <a:cubicBezTo>
                    <a:pt x="1523" y="843"/>
                    <a:pt x="1538" y="719"/>
                    <a:pt x="1538" y="595"/>
                  </a:cubicBezTo>
                  <a:cubicBezTo>
                    <a:pt x="1538" y="479"/>
                    <a:pt x="1538" y="479"/>
                    <a:pt x="1538" y="479"/>
                  </a:cubicBezTo>
                  <a:cubicBezTo>
                    <a:pt x="1538" y="356"/>
                    <a:pt x="1523" y="232"/>
                    <a:pt x="1523" y="232"/>
                  </a:cubicBezTo>
                  <a:cubicBezTo>
                    <a:pt x="1523" y="232"/>
                    <a:pt x="1508" y="127"/>
                    <a:pt x="1462" y="80"/>
                  </a:cubicBezTo>
                  <a:close/>
                  <a:moveTo>
                    <a:pt x="339" y="870"/>
                  </a:moveTo>
                  <a:cubicBezTo>
                    <a:pt x="235" y="870"/>
                    <a:pt x="235" y="870"/>
                    <a:pt x="235" y="870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451" y="180"/>
                    <a:pt x="451" y="180"/>
                    <a:pt x="451" y="180"/>
                  </a:cubicBezTo>
                  <a:cubicBezTo>
                    <a:pt x="451" y="277"/>
                    <a:pt x="451" y="277"/>
                    <a:pt x="451" y="277"/>
                  </a:cubicBezTo>
                  <a:cubicBezTo>
                    <a:pt x="339" y="277"/>
                    <a:pt x="339" y="277"/>
                    <a:pt x="339" y="277"/>
                  </a:cubicBezTo>
                  <a:lnTo>
                    <a:pt x="339" y="870"/>
                  </a:lnTo>
                  <a:close/>
                  <a:moveTo>
                    <a:pt x="707" y="870"/>
                  </a:moveTo>
                  <a:cubicBezTo>
                    <a:pt x="613" y="870"/>
                    <a:pt x="613" y="870"/>
                    <a:pt x="613" y="870"/>
                  </a:cubicBezTo>
                  <a:cubicBezTo>
                    <a:pt x="613" y="813"/>
                    <a:pt x="613" y="813"/>
                    <a:pt x="613" y="813"/>
                  </a:cubicBezTo>
                  <a:cubicBezTo>
                    <a:pt x="576" y="856"/>
                    <a:pt x="541" y="877"/>
                    <a:pt x="507" y="877"/>
                  </a:cubicBezTo>
                  <a:cubicBezTo>
                    <a:pt x="477" y="877"/>
                    <a:pt x="456" y="864"/>
                    <a:pt x="447" y="838"/>
                  </a:cubicBezTo>
                  <a:cubicBezTo>
                    <a:pt x="442" y="823"/>
                    <a:pt x="438" y="798"/>
                    <a:pt x="438" y="762"/>
                  </a:cubicBezTo>
                  <a:cubicBezTo>
                    <a:pt x="438" y="356"/>
                    <a:pt x="438" y="356"/>
                    <a:pt x="438" y="356"/>
                  </a:cubicBezTo>
                  <a:cubicBezTo>
                    <a:pt x="532" y="356"/>
                    <a:pt x="532" y="356"/>
                    <a:pt x="532" y="356"/>
                  </a:cubicBezTo>
                  <a:cubicBezTo>
                    <a:pt x="532" y="734"/>
                    <a:pt x="532" y="734"/>
                    <a:pt x="532" y="734"/>
                  </a:cubicBezTo>
                  <a:cubicBezTo>
                    <a:pt x="532" y="756"/>
                    <a:pt x="532" y="767"/>
                    <a:pt x="532" y="770"/>
                  </a:cubicBezTo>
                  <a:cubicBezTo>
                    <a:pt x="535" y="785"/>
                    <a:pt x="542" y="792"/>
                    <a:pt x="554" y="792"/>
                  </a:cubicBezTo>
                  <a:cubicBezTo>
                    <a:pt x="573" y="792"/>
                    <a:pt x="593" y="778"/>
                    <a:pt x="613" y="748"/>
                  </a:cubicBezTo>
                  <a:cubicBezTo>
                    <a:pt x="613" y="356"/>
                    <a:pt x="613" y="356"/>
                    <a:pt x="613" y="356"/>
                  </a:cubicBezTo>
                  <a:cubicBezTo>
                    <a:pt x="707" y="356"/>
                    <a:pt x="707" y="356"/>
                    <a:pt x="707" y="356"/>
                  </a:cubicBezTo>
                  <a:lnTo>
                    <a:pt x="707" y="870"/>
                  </a:lnTo>
                  <a:close/>
                  <a:moveTo>
                    <a:pt x="1061" y="715"/>
                  </a:moveTo>
                  <a:cubicBezTo>
                    <a:pt x="1061" y="763"/>
                    <a:pt x="1058" y="797"/>
                    <a:pt x="1052" y="819"/>
                  </a:cubicBezTo>
                  <a:cubicBezTo>
                    <a:pt x="1039" y="857"/>
                    <a:pt x="1014" y="877"/>
                    <a:pt x="977" y="877"/>
                  </a:cubicBezTo>
                  <a:cubicBezTo>
                    <a:pt x="944" y="877"/>
                    <a:pt x="912" y="858"/>
                    <a:pt x="881" y="820"/>
                  </a:cubicBezTo>
                  <a:cubicBezTo>
                    <a:pt x="881" y="870"/>
                    <a:pt x="881" y="870"/>
                    <a:pt x="881" y="870"/>
                  </a:cubicBezTo>
                  <a:cubicBezTo>
                    <a:pt x="787" y="870"/>
                    <a:pt x="787" y="870"/>
                    <a:pt x="787" y="870"/>
                  </a:cubicBezTo>
                  <a:cubicBezTo>
                    <a:pt x="787" y="180"/>
                    <a:pt x="787" y="180"/>
                    <a:pt x="787" y="180"/>
                  </a:cubicBezTo>
                  <a:cubicBezTo>
                    <a:pt x="881" y="180"/>
                    <a:pt x="881" y="180"/>
                    <a:pt x="881" y="180"/>
                  </a:cubicBezTo>
                  <a:cubicBezTo>
                    <a:pt x="881" y="405"/>
                    <a:pt x="881" y="405"/>
                    <a:pt x="881" y="405"/>
                  </a:cubicBezTo>
                  <a:cubicBezTo>
                    <a:pt x="911" y="368"/>
                    <a:pt x="943" y="349"/>
                    <a:pt x="977" y="349"/>
                  </a:cubicBezTo>
                  <a:cubicBezTo>
                    <a:pt x="1014" y="349"/>
                    <a:pt x="1039" y="369"/>
                    <a:pt x="1052" y="407"/>
                  </a:cubicBezTo>
                  <a:cubicBezTo>
                    <a:pt x="1058" y="428"/>
                    <a:pt x="1061" y="462"/>
                    <a:pt x="1061" y="511"/>
                  </a:cubicBezTo>
                  <a:lnTo>
                    <a:pt x="1061" y="715"/>
                  </a:lnTo>
                  <a:close/>
                  <a:moveTo>
                    <a:pt x="1408" y="630"/>
                  </a:moveTo>
                  <a:cubicBezTo>
                    <a:pt x="1222" y="630"/>
                    <a:pt x="1222" y="630"/>
                    <a:pt x="1222" y="630"/>
                  </a:cubicBezTo>
                  <a:cubicBezTo>
                    <a:pt x="1222" y="721"/>
                    <a:pt x="1222" y="721"/>
                    <a:pt x="1222" y="721"/>
                  </a:cubicBezTo>
                  <a:cubicBezTo>
                    <a:pt x="1222" y="768"/>
                    <a:pt x="1237" y="792"/>
                    <a:pt x="1269" y="792"/>
                  </a:cubicBezTo>
                  <a:cubicBezTo>
                    <a:pt x="1292" y="792"/>
                    <a:pt x="1306" y="780"/>
                    <a:pt x="1311" y="755"/>
                  </a:cubicBezTo>
                  <a:cubicBezTo>
                    <a:pt x="1312" y="750"/>
                    <a:pt x="1313" y="729"/>
                    <a:pt x="1313" y="692"/>
                  </a:cubicBezTo>
                  <a:cubicBezTo>
                    <a:pt x="1408" y="692"/>
                    <a:pt x="1408" y="692"/>
                    <a:pt x="1408" y="692"/>
                  </a:cubicBezTo>
                  <a:cubicBezTo>
                    <a:pt x="1408" y="705"/>
                    <a:pt x="1408" y="705"/>
                    <a:pt x="1408" y="705"/>
                  </a:cubicBezTo>
                  <a:cubicBezTo>
                    <a:pt x="1408" y="735"/>
                    <a:pt x="1407" y="756"/>
                    <a:pt x="1406" y="765"/>
                  </a:cubicBezTo>
                  <a:cubicBezTo>
                    <a:pt x="1403" y="786"/>
                    <a:pt x="1396" y="804"/>
                    <a:pt x="1384" y="821"/>
                  </a:cubicBezTo>
                  <a:cubicBezTo>
                    <a:pt x="1358" y="858"/>
                    <a:pt x="1320" y="877"/>
                    <a:pt x="1271" y="877"/>
                  </a:cubicBezTo>
                  <a:cubicBezTo>
                    <a:pt x="1223" y="877"/>
                    <a:pt x="1186" y="859"/>
                    <a:pt x="1159" y="824"/>
                  </a:cubicBezTo>
                  <a:cubicBezTo>
                    <a:pt x="1139" y="798"/>
                    <a:pt x="1129" y="758"/>
                    <a:pt x="1129" y="703"/>
                  </a:cubicBezTo>
                  <a:cubicBezTo>
                    <a:pt x="1129" y="523"/>
                    <a:pt x="1129" y="523"/>
                    <a:pt x="1129" y="523"/>
                  </a:cubicBezTo>
                  <a:cubicBezTo>
                    <a:pt x="1129" y="468"/>
                    <a:pt x="1138" y="428"/>
                    <a:pt x="1157" y="402"/>
                  </a:cubicBezTo>
                  <a:cubicBezTo>
                    <a:pt x="1184" y="367"/>
                    <a:pt x="1222" y="349"/>
                    <a:pt x="1269" y="349"/>
                  </a:cubicBezTo>
                  <a:cubicBezTo>
                    <a:pt x="1316" y="349"/>
                    <a:pt x="1353" y="367"/>
                    <a:pt x="1379" y="402"/>
                  </a:cubicBezTo>
                  <a:cubicBezTo>
                    <a:pt x="1399" y="428"/>
                    <a:pt x="1408" y="468"/>
                    <a:pt x="1408" y="523"/>
                  </a:cubicBezTo>
                  <a:lnTo>
                    <a:pt x="1408" y="630"/>
                  </a:lnTo>
                  <a:close/>
                  <a:moveTo>
                    <a:pt x="1408" y="630"/>
                  </a:moveTo>
                  <a:cubicBezTo>
                    <a:pt x="1408" y="630"/>
                    <a:pt x="1408" y="630"/>
                    <a:pt x="1408" y="6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19"/>
            <p:cNvSpPr>
              <a:spLocks noEditPoints="1"/>
            </p:cNvSpPr>
            <p:nvPr userDrawn="1"/>
          </p:nvSpPr>
          <p:spPr bwMode="auto">
            <a:xfrm>
              <a:off x="11014075" y="5821363"/>
              <a:ext cx="88900" cy="169863"/>
            </a:xfrm>
            <a:custGeom>
              <a:avLst/>
              <a:gdLst>
                <a:gd name="T0" fmla="*/ 236 w 362"/>
                <a:gd name="T1" fmla="*/ 697 h 697"/>
                <a:gd name="T2" fmla="*/ 236 w 362"/>
                <a:gd name="T3" fmla="*/ 415 h 697"/>
                <a:gd name="T4" fmla="*/ 362 w 362"/>
                <a:gd name="T5" fmla="*/ 0 h 697"/>
                <a:gd name="T6" fmla="*/ 256 w 362"/>
                <a:gd name="T7" fmla="*/ 0 h 697"/>
                <a:gd name="T8" fmla="*/ 185 w 362"/>
                <a:gd name="T9" fmla="*/ 274 h 697"/>
                <a:gd name="T10" fmla="*/ 110 w 362"/>
                <a:gd name="T11" fmla="*/ 0 h 697"/>
                <a:gd name="T12" fmla="*/ 0 w 362"/>
                <a:gd name="T13" fmla="*/ 0 h 697"/>
                <a:gd name="T14" fmla="*/ 67 w 362"/>
                <a:gd name="T15" fmla="*/ 194 h 697"/>
                <a:gd name="T16" fmla="*/ 131 w 362"/>
                <a:gd name="T17" fmla="*/ 415 h 697"/>
                <a:gd name="T18" fmla="*/ 131 w 362"/>
                <a:gd name="T19" fmla="*/ 697 h 697"/>
                <a:gd name="T20" fmla="*/ 236 w 362"/>
                <a:gd name="T21" fmla="*/ 697 h 697"/>
                <a:gd name="T22" fmla="*/ 236 w 362"/>
                <a:gd name="T23" fmla="*/ 697 h 697"/>
                <a:gd name="T24" fmla="*/ 236 w 362"/>
                <a:gd name="T25" fmla="*/ 697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2" h="697">
                  <a:moveTo>
                    <a:pt x="236" y="697"/>
                  </a:moveTo>
                  <a:cubicBezTo>
                    <a:pt x="236" y="415"/>
                    <a:pt x="236" y="415"/>
                    <a:pt x="236" y="41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185" y="274"/>
                    <a:pt x="185" y="274"/>
                    <a:pt x="185" y="27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65"/>
                    <a:pt x="45" y="130"/>
                    <a:pt x="67" y="194"/>
                  </a:cubicBezTo>
                  <a:cubicBezTo>
                    <a:pt x="101" y="291"/>
                    <a:pt x="122" y="365"/>
                    <a:pt x="131" y="415"/>
                  </a:cubicBezTo>
                  <a:cubicBezTo>
                    <a:pt x="131" y="697"/>
                    <a:pt x="131" y="697"/>
                    <a:pt x="131" y="697"/>
                  </a:cubicBezTo>
                  <a:lnTo>
                    <a:pt x="236" y="697"/>
                  </a:lnTo>
                  <a:close/>
                  <a:moveTo>
                    <a:pt x="236" y="697"/>
                  </a:moveTo>
                  <a:cubicBezTo>
                    <a:pt x="236" y="697"/>
                    <a:pt x="236" y="697"/>
                    <a:pt x="236" y="6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20"/>
            <p:cNvSpPr>
              <a:spLocks noEditPoints="1"/>
            </p:cNvSpPr>
            <p:nvPr userDrawn="1"/>
          </p:nvSpPr>
          <p:spPr bwMode="auto">
            <a:xfrm>
              <a:off x="11098213" y="5862638"/>
              <a:ext cx="66675" cy="130175"/>
            </a:xfrm>
            <a:custGeom>
              <a:avLst/>
              <a:gdLst>
                <a:gd name="T0" fmla="*/ 139 w 278"/>
                <a:gd name="T1" fmla="*/ 533 h 533"/>
                <a:gd name="T2" fmla="*/ 249 w 278"/>
                <a:gd name="T3" fmla="*/ 480 h 533"/>
                <a:gd name="T4" fmla="*/ 278 w 278"/>
                <a:gd name="T5" fmla="*/ 358 h 533"/>
                <a:gd name="T6" fmla="*/ 278 w 278"/>
                <a:gd name="T7" fmla="*/ 176 h 533"/>
                <a:gd name="T8" fmla="*/ 249 w 278"/>
                <a:gd name="T9" fmla="*/ 54 h 533"/>
                <a:gd name="T10" fmla="*/ 139 w 278"/>
                <a:gd name="T11" fmla="*/ 0 h 533"/>
                <a:gd name="T12" fmla="*/ 29 w 278"/>
                <a:gd name="T13" fmla="*/ 54 h 533"/>
                <a:gd name="T14" fmla="*/ 0 w 278"/>
                <a:gd name="T15" fmla="*/ 176 h 533"/>
                <a:gd name="T16" fmla="*/ 0 w 278"/>
                <a:gd name="T17" fmla="*/ 358 h 533"/>
                <a:gd name="T18" fmla="*/ 29 w 278"/>
                <a:gd name="T19" fmla="*/ 480 h 533"/>
                <a:gd name="T20" fmla="*/ 139 w 278"/>
                <a:gd name="T21" fmla="*/ 533 h 533"/>
                <a:gd name="T22" fmla="*/ 94 w 278"/>
                <a:gd name="T23" fmla="*/ 157 h 533"/>
                <a:gd name="T24" fmla="*/ 139 w 278"/>
                <a:gd name="T25" fmla="*/ 85 h 533"/>
                <a:gd name="T26" fmla="*/ 184 w 278"/>
                <a:gd name="T27" fmla="*/ 157 h 533"/>
                <a:gd name="T28" fmla="*/ 184 w 278"/>
                <a:gd name="T29" fmla="*/ 375 h 533"/>
                <a:gd name="T30" fmla="*/ 139 w 278"/>
                <a:gd name="T31" fmla="*/ 447 h 533"/>
                <a:gd name="T32" fmla="*/ 94 w 278"/>
                <a:gd name="T33" fmla="*/ 375 h 533"/>
                <a:gd name="T34" fmla="*/ 94 w 278"/>
                <a:gd name="T35" fmla="*/ 157 h 533"/>
                <a:gd name="T36" fmla="*/ 94 w 278"/>
                <a:gd name="T37" fmla="*/ 157 h 533"/>
                <a:gd name="T38" fmla="*/ 94 w 278"/>
                <a:gd name="T39" fmla="*/ 15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8" h="533">
                  <a:moveTo>
                    <a:pt x="139" y="533"/>
                  </a:moveTo>
                  <a:cubicBezTo>
                    <a:pt x="186" y="533"/>
                    <a:pt x="223" y="515"/>
                    <a:pt x="249" y="480"/>
                  </a:cubicBezTo>
                  <a:cubicBezTo>
                    <a:pt x="269" y="454"/>
                    <a:pt x="278" y="413"/>
                    <a:pt x="278" y="358"/>
                  </a:cubicBezTo>
                  <a:cubicBezTo>
                    <a:pt x="278" y="176"/>
                    <a:pt x="278" y="176"/>
                    <a:pt x="278" y="176"/>
                  </a:cubicBezTo>
                  <a:cubicBezTo>
                    <a:pt x="278" y="120"/>
                    <a:pt x="269" y="80"/>
                    <a:pt x="249" y="54"/>
                  </a:cubicBezTo>
                  <a:cubicBezTo>
                    <a:pt x="223" y="18"/>
                    <a:pt x="186" y="0"/>
                    <a:pt x="139" y="0"/>
                  </a:cubicBezTo>
                  <a:cubicBezTo>
                    <a:pt x="92" y="0"/>
                    <a:pt x="55" y="18"/>
                    <a:pt x="29" y="54"/>
                  </a:cubicBezTo>
                  <a:cubicBezTo>
                    <a:pt x="9" y="80"/>
                    <a:pt x="0" y="120"/>
                    <a:pt x="0" y="17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413"/>
                    <a:pt x="9" y="454"/>
                    <a:pt x="29" y="480"/>
                  </a:cubicBezTo>
                  <a:cubicBezTo>
                    <a:pt x="55" y="515"/>
                    <a:pt x="92" y="533"/>
                    <a:pt x="139" y="533"/>
                  </a:cubicBezTo>
                  <a:close/>
                  <a:moveTo>
                    <a:pt x="94" y="157"/>
                  </a:moveTo>
                  <a:cubicBezTo>
                    <a:pt x="94" y="109"/>
                    <a:pt x="109" y="85"/>
                    <a:pt x="139" y="85"/>
                  </a:cubicBezTo>
                  <a:cubicBezTo>
                    <a:pt x="169" y="85"/>
                    <a:pt x="184" y="109"/>
                    <a:pt x="184" y="157"/>
                  </a:cubicBezTo>
                  <a:cubicBezTo>
                    <a:pt x="184" y="375"/>
                    <a:pt x="184" y="375"/>
                    <a:pt x="184" y="375"/>
                  </a:cubicBezTo>
                  <a:cubicBezTo>
                    <a:pt x="184" y="423"/>
                    <a:pt x="169" y="447"/>
                    <a:pt x="139" y="447"/>
                  </a:cubicBezTo>
                  <a:cubicBezTo>
                    <a:pt x="109" y="447"/>
                    <a:pt x="94" y="423"/>
                    <a:pt x="94" y="375"/>
                  </a:cubicBezTo>
                  <a:lnTo>
                    <a:pt x="94" y="157"/>
                  </a:lnTo>
                  <a:close/>
                  <a:moveTo>
                    <a:pt x="94" y="157"/>
                  </a:moveTo>
                  <a:cubicBezTo>
                    <a:pt x="94" y="157"/>
                    <a:pt x="94" y="157"/>
                    <a:pt x="94" y="1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21"/>
            <p:cNvSpPr>
              <a:spLocks noEditPoints="1"/>
            </p:cNvSpPr>
            <p:nvPr userDrawn="1"/>
          </p:nvSpPr>
          <p:spPr bwMode="auto">
            <a:xfrm>
              <a:off x="11182350" y="5864226"/>
              <a:ext cx="66675" cy="128588"/>
            </a:xfrm>
            <a:custGeom>
              <a:avLst/>
              <a:gdLst>
                <a:gd name="T0" fmla="*/ 271 w 271"/>
                <a:gd name="T1" fmla="*/ 520 h 527"/>
                <a:gd name="T2" fmla="*/ 271 w 271"/>
                <a:gd name="T3" fmla="*/ 0 h 527"/>
                <a:gd name="T4" fmla="*/ 177 w 271"/>
                <a:gd name="T5" fmla="*/ 0 h 527"/>
                <a:gd name="T6" fmla="*/ 177 w 271"/>
                <a:gd name="T7" fmla="*/ 397 h 527"/>
                <a:gd name="T8" fmla="*/ 117 w 271"/>
                <a:gd name="T9" fmla="*/ 442 h 527"/>
                <a:gd name="T10" fmla="*/ 95 w 271"/>
                <a:gd name="T11" fmla="*/ 419 h 527"/>
                <a:gd name="T12" fmla="*/ 94 w 271"/>
                <a:gd name="T13" fmla="*/ 383 h 527"/>
                <a:gd name="T14" fmla="*/ 94 w 271"/>
                <a:gd name="T15" fmla="*/ 0 h 527"/>
                <a:gd name="T16" fmla="*/ 0 w 271"/>
                <a:gd name="T17" fmla="*/ 0 h 527"/>
                <a:gd name="T18" fmla="*/ 0 w 271"/>
                <a:gd name="T19" fmla="*/ 411 h 527"/>
                <a:gd name="T20" fmla="*/ 8 w 271"/>
                <a:gd name="T21" fmla="*/ 488 h 527"/>
                <a:gd name="T22" fmla="*/ 69 w 271"/>
                <a:gd name="T23" fmla="*/ 527 h 527"/>
                <a:gd name="T24" fmla="*/ 177 w 271"/>
                <a:gd name="T25" fmla="*/ 463 h 527"/>
                <a:gd name="T26" fmla="*/ 177 w 271"/>
                <a:gd name="T27" fmla="*/ 520 h 527"/>
                <a:gd name="T28" fmla="*/ 271 w 271"/>
                <a:gd name="T29" fmla="*/ 520 h 527"/>
                <a:gd name="T30" fmla="*/ 271 w 271"/>
                <a:gd name="T31" fmla="*/ 520 h 527"/>
                <a:gd name="T32" fmla="*/ 271 w 271"/>
                <a:gd name="T33" fmla="*/ 52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1" h="527">
                  <a:moveTo>
                    <a:pt x="271" y="520"/>
                  </a:moveTo>
                  <a:cubicBezTo>
                    <a:pt x="271" y="0"/>
                    <a:pt x="271" y="0"/>
                    <a:pt x="271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97"/>
                    <a:pt x="177" y="397"/>
                    <a:pt x="177" y="397"/>
                  </a:cubicBezTo>
                  <a:cubicBezTo>
                    <a:pt x="156" y="427"/>
                    <a:pt x="136" y="442"/>
                    <a:pt x="117" y="442"/>
                  </a:cubicBezTo>
                  <a:cubicBezTo>
                    <a:pt x="104" y="442"/>
                    <a:pt x="97" y="434"/>
                    <a:pt x="95" y="419"/>
                  </a:cubicBezTo>
                  <a:cubicBezTo>
                    <a:pt x="94" y="416"/>
                    <a:pt x="94" y="405"/>
                    <a:pt x="94" y="383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48"/>
                    <a:pt x="3" y="473"/>
                    <a:pt x="8" y="488"/>
                  </a:cubicBezTo>
                  <a:cubicBezTo>
                    <a:pt x="18" y="515"/>
                    <a:pt x="39" y="527"/>
                    <a:pt x="69" y="527"/>
                  </a:cubicBezTo>
                  <a:cubicBezTo>
                    <a:pt x="103" y="527"/>
                    <a:pt x="139" y="506"/>
                    <a:pt x="177" y="463"/>
                  </a:cubicBezTo>
                  <a:cubicBezTo>
                    <a:pt x="177" y="520"/>
                    <a:pt x="177" y="520"/>
                    <a:pt x="177" y="520"/>
                  </a:cubicBezTo>
                  <a:lnTo>
                    <a:pt x="271" y="520"/>
                  </a:lnTo>
                  <a:close/>
                  <a:moveTo>
                    <a:pt x="271" y="520"/>
                  </a:moveTo>
                  <a:cubicBezTo>
                    <a:pt x="271" y="520"/>
                    <a:pt x="271" y="520"/>
                    <a:pt x="271" y="5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8" name="Textplatzhalter 6"/>
          <p:cNvSpPr txBox="1">
            <a:spLocks/>
          </p:cNvSpPr>
          <p:nvPr userDrawn="1"/>
        </p:nvSpPr>
        <p:spPr bwMode="gray">
          <a:xfrm>
            <a:off x="6242947" y="8326366"/>
            <a:ext cx="4974834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xing.com/</a:t>
            </a:r>
            <a:r>
              <a:rPr lang="de-DE" dirty="0" err="1"/>
              <a:t>companies</a:t>
            </a:r>
            <a:r>
              <a:rPr lang="de-DE" dirty="0"/>
              <a:t>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69" name="Textplatzhalter 5"/>
          <p:cNvSpPr txBox="1">
            <a:spLocks/>
          </p:cNvSpPr>
          <p:nvPr userDrawn="1"/>
        </p:nvSpPr>
        <p:spPr bwMode="gray">
          <a:xfrm>
            <a:off x="6242946" y="7810507"/>
            <a:ext cx="5161129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inkedin.com/</a:t>
            </a:r>
            <a:r>
              <a:rPr lang="de-DE" dirty="0" err="1"/>
              <a:t>company</a:t>
            </a:r>
            <a:r>
              <a:rPr lang="de-DE" dirty="0"/>
              <a:t>/</a:t>
            </a:r>
            <a:r>
              <a:rPr lang="de-DE" dirty="0" err="1"/>
              <a:t>qaware-gmbh</a:t>
            </a:r>
            <a:endParaRPr lang="de-DE" dirty="0"/>
          </a:p>
        </p:txBody>
      </p:sp>
      <p:sp>
        <p:nvSpPr>
          <p:cNvPr id="70" name="Textplatzhalter 8"/>
          <p:cNvSpPr txBox="1">
            <a:spLocks/>
          </p:cNvSpPr>
          <p:nvPr userDrawn="1"/>
        </p:nvSpPr>
        <p:spPr bwMode="gray">
          <a:xfrm>
            <a:off x="12150546" y="7810507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lideshare.net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71" name="Textplatzhalter 4"/>
          <p:cNvSpPr txBox="1">
            <a:spLocks/>
          </p:cNvSpPr>
          <p:nvPr userDrawn="1"/>
        </p:nvSpPr>
        <p:spPr bwMode="gray">
          <a:xfrm>
            <a:off x="6242947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witter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72" name="Textplatzhalter 7"/>
          <p:cNvSpPr txBox="1">
            <a:spLocks/>
          </p:cNvSpPr>
          <p:nvPr userDrawn="1"/>
        </p:nvSpPr>
        <p:spPr bwMode="gray">
          <a:xfrm>
            <a:off x="12150546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ithub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81" name="Textplatzhalter 9"/>
          <p:cNvSpPr txBox="1">
            <a:spLocks/>
          </p:cNvSpPr>
          <p:nvPr userDrawn="1"/>
        </p:nvSpPr>
        <p:spPr bwMode="gray">
          <a:xfrm>
            <a:off x="12150546" y="8326366"/>
            <a:ext cx="389282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youtube.com/</a:t>
            </a:r>
            <a:r>
              <a:rPr lang="de-DE" dirty="0" err="1"/>
              <a:t>qawaregmbh</a:t>
            </a:r>
            <a:endParaRPr lang="de-DE" dirty="0"/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F1675079-95F8-401D-8BC1-C77A346EC1E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489396" y="7294925"/>
            <a:ext cx="414000" cy="414000"/>
            <a:chOff x="3215717" y="-6330900"/>
            <a:chExt cx="2959200" cy="2959201"/>
          </a:xfrm>
        </p:grpSpPr>
        <p:sp>
          <p:nvSpPr>
            <p:cNvPr id="98" name="Freeform 26">
              <a:extLst>
                <a:ext uri="{FF2B5EF4-FFF2-40B4-BE49-F238E27FC236}">
                  <a16:creationId xmlns:a16="http://schemas.microsoft.com/office/drawing/2014/main" id="{087CF719-43FD-45EC-AF39-9A1ED848839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215717" y="-6303725"/>
              <a:ext cx="2959200" cy="2904850"/>
            </a:xfrm>
            <a:custGeom>
              <a:avLst/>
              <a:gdLst>
                <a:gd name="T0" fmla="*/ 52 w 105"/>
                <a:gd name="T1" fmla="*/ 0 h 103"/>
                <a:gd name="T2" fmla="*/ 0 w 105"/>
                <a:gd name="T3" fmla="*/ 52 h 103"/>
                <a:gd name="T4" fmla="*/ 35 w 105"/>
                <a:gd name="T5" fmla="*/ 102 h 103"/>
                <a:gd name="T6" fmla="*/ 39 w 105"/>
                <a:gd name="T7" fmla="*/ 99 h 103"/>
                <a:gd name="T8" fmla="*/ 39 w 105"/>
                <a:gd name="T9" fmla="*/ 91 h 103"/>
                <a:gd name="T10" fmla="*/ 21 w 105"/>
                <a:gd name="T11" fmla="*/ 84 h 103"/>
                <a:gd name="T12" fmla="*/ 15 w 105"/>
                <a:gd name="T13" fmla="*/ 76 h 103"/>
                <a:gd name="T14" fmla="*/ 16 w 105"/>
                <a:gd name="T15" fmla="*/ 73 h 103"/>
                <a:gd name="T16" fmla="*/ 24 w 105"/>
                <a:gd name="T17" fmla="*/ 78 h 103"/>
                <a:gd name="T18" fmla="*/ 39 w 105"/>
                <a:gd name="T19" fmla="*/ 82 h 103"/>
                <a:gd name="T20" fmla="*/ 42 w 105"/>
                <a:gd name="T21" fmla="*/ 75 h 103"/>
                <a:gd name="T22" fmla="*/ 19 w 105"/>
                <a:gd name="T23" fmla="*/ 49 h 103"/>
                <a:gd name="T24" fmla="*/ 24 w 105"/>
                <a:gd name="T25" fmla="*/ 35 h 103"/>
                <a:gd name="T26" fmla="*/ 24 w 105"/>
                <a:gd name="T27" fmla="*/ 21 h 103"/>
                <a:gd name="T28" fmla="*/ 39 w 105"/>
                <a:gd name="T29" fmla="*/ 27 h 103"/>
                <a:gd name="T30" fmla="*/ 52 w 105"/>
                <a:gd name="T31" fmla="*/ 25 h 103"/>
                <a:gd name="T32" fmla="*/ 65 w 105"/>
                <a:gd name="T33" fmla="*/ 27 h 103"/>
                <a:gd name="T34" fmla="*/ 80 w 105"/>
                <a:gd name="T35" fmla="*/ 21 h 103"/>
                <a:gd name="T36" fmla="*/ 80 w 105"/>
                <a:gd name="T37" fmla="*/ 35 h 103"/>
                <a:gd name="T38" fmla="*/ 86 w 105"/>
                <a:gd name="T39" fmla="*/ 49 h 103"/>
                <a:gd name="T40" fmla="*/ 62 w 105"/>
                <a:gd name="T41" fmla="*/ 75 h 103"/>
                <a:gd name="T42" fmla="*/ 65 w 105"/>
                <a:gd name="T43" fmla="*/ 85 h 103"/>
                <a:gd name="T44" fmla="*/ 65 w 105"/>
                <a:gd name="T45" fmla="*/ 99 h 103"/>
                <a:gd name="T46" fmla="*/ 69 w 105"/>
                <a:gd name="T47" fmla="*/ 102 h 103"/>
                <a:gd name="T48" fmla="*/ 105 w 105"/>
                <a:gd name="T49" fmla="*/ 52 h 103"/>
                <a:gd name="T50" fmla="*/ 52 w 105"/>
                <a:gd name="T5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03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75"/>
                    <a:pt x="15" y="95"/>
                    <a:pt x="35" y="102"/>
                  </a:cubicBezTo>
                  <a:cubicBezTo>
                    <a:pt x="38" y="103"/>
                    <a:pt x="39" y="101"/>
                    <a:pt x="39" y="99"/>
                  </a:cubicBezTo>
                  <a:cubicBezTo>
                    <a:pt x="39" y="98"/>
                    <a:pt x="39" y="95"/>
                    <a:pt x="39" y="91"/>
                  </a:cubicBezTo>
                  <a:cubicBezTo>
                    <a:pt x="24" y="94"/>
                    <a:pt x="21" y="84"/>
                    <a:pt x="21" y="84"/>
                  </a:cubicBezTo>
                  <a:cubicBezTo>
                    <a:pt x="19" y="77"/>
                    <a:pt x="15" y="76"/>
                    <a:pt x="15" y="76"/>
                  </a:cubicBezTo>
                  <a:cubicBezTo>
                    <a:pt x="11" y="73"/>
                    <a:pt x="16" y="73"/>
                    <a:pt x="16" y="73"/>
                  </a:cubicBezTo>
                  <a:cubicBezTo>
                    <a:pt x="21" y="73"/>
                    <a:pt x="24" y="78"/>
                    <a:pt x="24" y="78"/>
                  </a:cubicBezTo>
                  <a:cubicBezTo>
                    <a:pt x="29" y="86"/>
                    <a:pt x="36" y="84"/>
                    <a:pt x="39" y="82"/>
                  </a:cubicBezTo>
                  <a:cubicBezTo>
                    <a:pt x="40" y="79"/>
                    <a:pt x="41" y="77"/>
                    <a:pt x="42" y="75"/>
                  </a:cubicBezTo>
                  <a:cubicBezTo>
                    <a:pt x="31" y="74"/>
                    <a:pt x="19" y="70"/>
                    <a:pt x="19" y="49"/>
                  </a:cubicBezTo>
                  <a:cubicBezTo>
                    <a:pt x="19" y="44"/>
                    <a:pt x="21" y="39"/>
                    <a:pt x="24" y="35"/>
                  </a:cubicBezTo>
                  <a:cubicBezTo>
                    <a:pt x="23" y="34"/>
                    <a:pt x="22" y="29"/>
                    <a:pt x="24" y="21"/>
                  </a:cubicBezTo>
                  <a:cubicBezTo>
                    <a:pt x="24" y="21"/>
                    <a:pt x="29" y="20"/>
                    <a:pt x="39" y="27"/>
                  </a:cubicBezTo>
                  <a:cubicBezTo>
                    <a:pt x="43" y="26"/>
                    <a:pt x="48" y="25"/>
                    <a:pt x="52" y="25"/>
                  </a:cubicBezTo>
                  <a:cubicBezTo>
                    <a:pt x="57" y="25"/>
                    <a:pt x="61" y="26"/>
                    <a:pt x="65" y="27"/>
                  </a:cubicBezTo>
                  <a:cubicBezTo>
                    <a:pt x="75" y="20"/>
                    <a:pt x="80" y="21"/>
                    <a:pt x="80" y="21"/>
                  </a:cubicBezTo>
                  <a:cubicBezTo>
                    <a:pt x="83" y="29"/>
                    <a:pt x="81" y="34"/>
                    <a:pt x="80" y="35"/>
                  </a:cubicBezTo>
                  <a:cubicBezTo>
                    <a:pt x="84" y="39"/>
                    <a:pt x="86" y="44"/>
                    <a:pt x="86" y="49"/>
                  </a:cubicBezTo>
                  <a:cubicBezTo>
                    <a:pt x="86" y="70"/>
                    <a:pt x="73" y="74"/>
                    <a:pt x="62" y="75"/>
                  </a:cubicBezTo>
                  <a:cubicBezTo>
                    <a:pt x="64" y="77"/>
                    <a:pt x="65" y="80"/>
                    <a:pt x="65" y="85"/>
                  </a:cubicBezTo>
                  <a:cubicBezTo>
                    <a:pt x="65" y="92"/>
                    <a:pt x="65" y="98"/>
                    <a:pt x="65" y="99"/>
                  </a:cubicBezTo>
                  <a:cubicBezTo>
                    <a:pt x="65" y="101"/>
                    <a:pt x="66" y="103"/>
                    <a:pt x="69" y="102"/>
                  </a:cubicBezTo>
                  <a:cubicBezTo>
                    <a:pt x="90" y="95"/>
                    <a:pt x="105" y="75"/>
                    <a:pt x="105" y="52"/>
                  </a:cubicBezTo>
                  <a:cubicBezTo>
                    <a:pt x="105" y="23"/>
                    <a:pt x="81" y="0"/>
                    <a:pt x="5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2121179B-524D-4A70-8096-D8E3F434AA60}"/>
                </a:ext>
              </a:extLst>
            </p:cNvPr>
            <p:cNvSpPr/>
            <p:nvPr/>
          </p:nvSpPr>
          <p:spPr bwMode="gray">
            <a:xfrm>
              <a:off x="3215717" y="-6330900"/>
              <a:ext cx="2959200" cy="2959201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24800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4604" userDrawn="1">
          <p15:clr>
            <a:srgbClr val="FBAE40"/>
          </p15:clr>
        </p15:guide>
        <p15:guide id="2" pos="72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Dau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2904922" y="446088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4" name="Textplatzhalter 1031"/>
          <p:cNvSpPr>
            <a:spLocks noGrp="1"/>
          </p:cNvSpPr>
          <p:nvPr>
            <p:ph type="body" sz="quarter" idx="14"/>
          </p:nvPr>
        </p:nvSpPr>
        <p:spPr bwMode="gray">
          <a:xfrm>
            <a:off x="467521" y="446088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Textplatzhalter 1031"/>
          <p:cNvSpPr>
            <a:spLocks noGrp="1"/>
          </p:cNvSpPr>
          <p:nvPr>
            <p:ph type="body" sz="quarter" idx="15"/>
          </p:nvPr>
        </p:nvSpPr>
        <p:spPr bwMode="gray">
          <a:xfrm>
            <a:off x="2904922" y="1360349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6" name="Textplatzhalter 1031"/>
          <p:cNvSpPr>
            <a:spLocks noGrp="1"/>
          </p:cNvSpPr>
          <p:nvPr>
            <p:ph type="body" sz="quarter" idx="16"/>
          </p:nvPr>
        </p:nvSpPr>
        <p:spPr bwMode="gray">
          <a:xfrm>
            <a:off x="467521" y="1360349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7" name="Textplatzhalter 1031"/>
          <p:cNvSpPr>
            <a:spLocks noGrp="1"/>
          </p:cNvSpPr>
          <p:nvPr>
            <p:ph type="body" sz="quarter" idx="17"/>
          </p:nvPr>
        </p:nvSpPr>
        <p:spPr bwMode="gray">
          <a:xfrm>
            <a:off x="2904922" y="2274610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8" name="Textplatzhalter 1031"/>
          <p:cNvSpPr>
            <a:spLocks noGrp="1"/>
          </p:cNvSpPr>
          <p:nvPr>
            <p:ph type="body" sz="quarter" idx="18"/>
          </p:nvPr>
        </p:nvSpPr>
        <p:spPr bwMode="gray">
          <a:xfrm>
            <a:off x="467521" y="2274610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9" name="Textplatzhalter 1031"/>
          <p:cNvSpPr>
            <a:spLocks noGrp="1"/>
          </p:cNvSpPr>
          <p:nvPr>
            <p:ph type="body" sz="quarter" idx="19"/>
          </p:nvPr>
        </p:nvSpPr>
        <p:spPr bwMode="gray">
          <a:xfrm>
            <a:off x="2904922" y="3188871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0" name="Textplatzhalter 1031"/>
          <p:cNvSpPr>
            <a:spLocks noGrp="1"/>
          </p:cNvSpPr>
          <p:nvPr>
            <p:ph type="body" sz="quarter" idx="20"/>
          </p:nvPr>
        </p:nvSpPr>
        <p:spPr bwMode="gray">
          <a:xfrm>
            <a:off x="467521" y="3188871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Textplatzhalter 1031"/>
          <p:cNvSpPr>
            <a:spLocks noGrp="1"/>
          </p:cNvSpPr>
          <p:nvPr>
            <p:ph type="body" sz="quarter" idx="21"/>
          </p:nvPr>
        </p:nvSpPr>
        <p:spPr bwMode="gray">
          <a:xfrm>
            <a:off x="2904922" y="4103132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2" name="Textplatzhalter 1031"/>
          <p:cNvSpPr>
            <a:spLocks noGrp="1"/>
          </p:cNvSpPr>
          <p:nvPr>
            <p:ph type="body" sz="quarter" idx="22"/>
          </p:nvPr>
        </p:nvSpPr>
        <p:spPr bwMode="gray">
          <a:xfrm>
            <a:off x="467521" y="4103132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3" name="Textplatzhalter 1031"/>
          <p:cNvSpPr>
            <a:spLocks noGrp="1"/>
          </p:cNvSpPr>
          <p:nvPr>
            <p:ph type="body" sz="quarter" idx="23"/>
          </p:nvPr>
        </p:nvSpPr>
        <p:spPr bwMode="gray">
          <a:xfrm>
            <a:off x="2904922" y="5017393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4" name="Textplatzhalter 1031"/>
          <p:cNvSpPr>
            <a:spLocks noGrp="1"/>
          </p:cNvSpPr>
          <p:nvPr>
            <p:ph type="body" sz="quarter" idx="24"/>
          </p:nvPr>
        </p:nvSpPr>
        <p:spPr bwMode="gray">
          <a:xfrm>
            <a:off x="467521" y="5017393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5" name="Textplatzhalter 1031"/>
          <p:cNvSpPr>
            <a:spLocks noGrp="1"/>
          </p:cNvSpPr>
          <p:nvPr>
            <p:ph type="body" sz="quarter" idx="25"/>
          </p:nvPr>
        </p:nvSpPr>
        <p:spPr bwMode="gray">
          <a:xfrm>
            <a:off x="2904922" y="5931654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1031"/>
          <p:cNvSpPr>
            <a:spLocks noGrp="1"/>
          </p:cNvSpPr>
          <p:nvPr>
            <p:ph type="body" sz="quarter" idx="26"/>
          </p:nvPr>
        </p:nvSpPr>
        <p:spPr bwMode="gray">
          <a:xfrm>
            <a:off x="467521" y="5931654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1031"/>
          <p:cNvSpPr>
            <a:spLocks noGrp="1"/>
          </p:cNvSpPr>
          <p:nvPr>
            <p:ph type="body" sz="quarter" idx="27"/>
          </p:nvPr>
        </p:nvSpPr>
        <p:spPr bwMode="gray">
          <a:xfrm>
            <a:off x="2904922" y="6845915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1031"/>
          <p:cNvSpPr>
            <a:spLocks noGrp="1"/>
          </p:cNvSpPr>
          <p:nvPr>
            <p:ph type="body" sz="quarter" idx="28"/>
          </p:nvPr>
        </p:nvSpPr>
        <p:spPr bwMode="gray">
          <a:xfrm>
            <a:off x="467521" y="6845915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662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Zeitpl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2509676" y="134190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4" name="Textplatzhalter 1031"/>
          <p:cNvSpPr>
            <a:spLocks noGrp="1"/>
          </p:cNvSpPr>
          <p:nvPr>
            <p:ph type="body" sz="quarter" idx="14"/>
          </p:nvPr>
        </p:nvSpPr>
        <p:spPr bwMode="gray">
          <a:xfrm>
            <a:off x="481014" y="134190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Textplatzhalter 1031"/>
          <p:cNvSpPr>
            <a:spLocks noGrp="1"/>
          </p:cNvSpPr>
          <p:nvPr>
            <p:ph type="body" sz="quarter" idx="15"/>
          </p:nvPr>
        </p:nvSpPr>
        <p:spPr bwMode="gray">
          <a:xfrm>
            <a:off x="2509676" y="185020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6" name="Textplatzhalter 1031"/>
          <p:cNvSpPr>
            <a:spLocks noGrp="1"/>
          </p:cNvSpPr>
          <p:nvPr>
            <p:ph type="body" sz="quarter" idx="16"/>
          </p:nvPr>
        </p:nvSpPr>
        <p:spPr bwMode="gray">
          <a:xfrm>
            <a:off x="481014" y="185020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7" name="Textplatzhalter 1031"/>
          <p:cNvSpPr>
            <a:spLocks noGrp="1"/>
          </p:cNvSpPr>
          <p:nvPr>
            <p:ph type="body" sz="quarter" idx="17"/>
          </p:nvPr>
        </p:nvSpPr>
        <p:spPr bwMode="gray">
          <a:xfrm>
            <a:off x="2509676" y="235851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8" name="Textplatzhalter 1031"/>
          <p:cNvSpPr>
            <a:spLocks noGrp="1"/>
          </p:cNvSpPr>
          <p:nvPr>
            <p:ph type="body" sz="quarter" idx="18"/>
          </p:nvPr>
        </p:nvSpPr>
        <p:spPr bwMode="gray">
          <a:xfrm>
            <a:off x="481014" y="235851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9" name="Textplatzhalter 1031"/>
          <p:cNvSpPr>
            <a:spLocks noGrp="1"/>
          </p:cNvSpPr>
          <p:nvPr>
            <p:ph type="body" sz="quarter" idx="19"/>
          </p:nvPr>
        </p:nvSpPr>
        <p:spPr bwMode="gray">
          <a:xfrm>
            <a:off x="2509676" y="286681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0" name="Textplatzhalter 1031"/>
          <p:cNvSpPr>
            <a:spLocks noGrp="1"/>
          </p:cNvSpPr>
          <p:nvPr>
            <p:ph type="body" sz="quarter" idx="20"/>
          </p:nvPr>
        </p:nvSpPr>
        <p:spPr bwMode="gray">
          <a:xfrm>
            <a:off x="481014" y="286681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Textplatzhalter 1031"/>
          <p:cNvSpPr>
            <a:spLocks noGrp="1"/>
          </p:cNvSpPr>
          <p:nvPr>
            <p:ph type="body" sz="quarter" idx="21"/>
          </p:nvPr>
        </p:nvSpPr>
        <p:spPr bwMode="gray">
          <a:xfrm>
            <a:off x="2509676" y="337512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2" name="Textplatzhalter 1031"/>
          <p:cNvSpPr>
            <a:spLocks noGrp="1"/>
          </p:cNvSpPr>
          <p:nvPr>
            <p:ph type="body" sz="quarter" idx="22"/>
          </p:nvPr>
        </p:nvSpPr>
        <p:spPr bwMode="gray">
          <a:xfrm>
            <a:off x="481014" y="337512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3" name="Textplatzhalter 1031"/>
          <p:cNvSpPr>
            <a:spLocks noGrp="1"/>
          </p:cNvSpPr>
          <p:nvPr>
            <p:ph type="body" sz="quarter" idx="23"/>
          </p:nvPr>
        </p:nvSpPr>
        <p:spPr bwMode="gray">
          <a:xfrm>
            <a:off x="2509676" y="388342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4" name="Textplatzhalter 1031"/>
          <p:cNvSpPr>
            <a:spLocks noGrp="1"/>
          </p:cNvSpPr>
          <p:nvPr>
            <p:ph type="body" sz="quarter" idx="24"/>
          </p:nvPr>
        </p:nvSpPr>
        <p:spPr bwMode="gray">
          <a:xfrm>
            <a:off x="481014" y="388342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5" name="Textplatzhalter 1031"/>
          <p:cNvSpPr>
            <a:spLocks noGrp="1"/>
          </p:cNvSpPr>
          <p:nvPr>
            <p:ph type="body" sz="quarter" idx="25"/>
          </p:nvPr>
        </p:nvSpPr>
        <p:spPr bwMode="gray">
          <a:xfrm>
            <a:off x="2509676" y="439173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1031"/>
          <p:cNvSpPr>
            <a:spLocks noGrp="1"/>
          </p:cNvSpPr>
          <p:nvPr>
            <p:ph type="body" sz="quarter" idx="26"/>
          </p:nvPr>
        </p:nvSpPr>
        <p:spPr bwMode="gray">
          <a:xfrm>
            <a:off x="481014" y="439173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1031"/>
          <p:cNvSpPr>
            <a:spLocks noGrp="1"/>
          </p:cNvSpPr>
          <p:nvPr>
            <p:ph type="body" sz="quarter" idx="27"/>
          </p:nvPr>
        </p:nvSpPr>
        <p:spPr bwMode="gray">
          <a:xfrm>
            <a:off x="2509676" y="490003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1031"/>
          <p:cNvSpPr>
            <a:spLocks noGrp="1"/>
          </p:cNvSpPr>
          <p:nvPr>
            <p:ph type="body" sz="quarter" idx="28"/>
          </p:nvPr>
        </p:nvSpPr>
        <p:spPr bwMode="gray">
          <a:xfrm>
            <a:off x="481014" y="490003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457992" y="468407"/>
            <a:ext cx="15300000" cy="5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6" name="Textplatzhalter 1031"/>
          <p:cNvSpPr>
            <a:spLocks noGrp="1"/>
          </p:cNvSpPr>
          <p:nvPr>
            <p:ph type="body" sz="quarter" idx="29"/>
          </p:nvPr>
        </p:nvSpPr>
        <p:spPr bwMode="gray">
          <a:xfrm>
            <a:off x="2509676" y="540834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1031"/>
          <p:cNvSpPr>
            <a:spLocks noGrp="1"/>
          </p:cNvSpPr>
          <p:nvPr>
            <p:ph type="body" sz="quarter" idx="30"/>
          </p:nvPr>
        </p:nvSpPr>
        <p:spPr bwMode="gray">
          <a:xfrm>
            <a:off x="481014" y="540834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Textplatzhalter 1031"/>
          <p:cNvSpPr>
            <a:spLocks noGrp="1"/>
          </p:cNvSpPr>
          <p:nvPr>
            <p:ph type="body" sz="quarter" idx="31"/>
          </p:nvPr>
        </p:nvSpPr>
        <p:spPr bwMode="gray">
          <a:xfrm>
            <a:off x="2509676" y="591664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1031"/>
          <p:cNvSpPr>
            <a:spLocks noGrp="1"/>
          </p:cNvSpPr>
          <p:nvPr>
            <p:ph type="body" sz="quarter" idx="32"/>
          </p:nvPr>
        </p:nvSpPr>
        <p:spPr bwMode="gray">
          <a:xfrm>
            <a:off x="481014" y="591664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extplatzhalter 1031"/>
          <p:cNvSpPr>
            <a:spLocks noGrp="1"/>
          </p:cNvSpPr>
          <p:nvPr>
            <p:ph type="body" sz="quarter" idx="33"/>
          </p:nvPr>
        </p:nvSpPr>
        <p:spPr bwMode="gray">
          <a:xfrm>
            <a:off x="2509676" y="642495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platzhalter 1031"/>
          <p:cNvSpPr>
            <a:spLocks noGrp="1"/>
          </p:cNvSpPr>
          <p:nvPr>
            <p:ph type="body" sz="quarter" idx="34"/>
          </p:nvPr>
        </p:nvSpPr>
        <p:spPr bwMode="gray">
          <a:xfrm>
            <a:off x="481014" y="642495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1031"/>
          <p:cNvSpPr>
            <a:spLocks noGrp="1"/>
          </p:cNvSpPr>
          <p:nvPr>
            <p:ph type="body" sz="quarter" idx="35"/>
          </p:nvPr>
        </p:nvSpPr>
        <p:spPr bwMode="gray">
          <a:xfrm>
            <a:off x="2509676" y="693325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1031"/>
          <p:cNvSpPr>
            <a:spLocks noGrp="1"/>
          </p:cNvSpPr>
          <p:nvPr>
            <p:ph type="body" sz="quarter" idx="36"/>
          </p:nvPr>
        </p:nvSpPr>
        <p:spPr bwMode="gray">
          <a:xfrm>
            <a:off x="481014" y="693325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1031"/>
          <p:cNvSpPr>
            <a:spLocks noGrp="1"/>
          </p:cNvSpPr>
          <p:nvPr>
            <p:ph type="body" sz="quarter" idx="37"/>
          </p:nvPr>
        </p:nvSpPr>
        <p:spPr bwMode="gray">
          <a:xfrm>
            <a:off x="2509676" y="7441567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1031"/>
          <p:cNvSpPr>
            <a:spLocks noGrp="1"/>
          </p:cNvSpPr>
          <p:nvPr>
            <p:ph type="body" sz="quarter" idx="38"/>
          </p:nvPr>
        </p:nvSpPr>
        <p:spPr bwMode="gray">
          <a:xfrm>
            <a:off x="481014" y="7441567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9" name="Textplatzhalter 1031"/>
          <p:cNvSpPr>
            <a:spLocks noGrp="1"/>
          </p:cNvSpPr>
          <p:nvPr>
            <p:ph type="body" sz="quarter" idx="39"/>
          </p:nvPr>
        </p:nvSpPr>
        <p:spPr bwMode="gray">
          <a:xfrm>
            <a:off x="2509676" y="7951051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0" name="Textplatzhalter 1031"/>
          <p:cNvSpPr>
            <a:spLocks noGrp="1"/>
          </p:cNvSpPr>
          <p:nvPr>
            <p:ph type="body" sz="quarter" idx="40"/>
          </p:nvPr>
        </p:nvSpPr>
        <p:spPr bwMode="gray">
          <a:xfrm>
            <a:off x="481014" y="7951051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3586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(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9699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5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6256000" cy="91455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95300" y="4587541"/>
            <a:ext cx="11952000" cy="2736000"/>
          </a:xfrm>
          <a:solidFill>
            <a:schemeClr val="bg1"/>
          </a:solidFill>
        </p:spPr>
        <p:txBody>
          <a:bodyPr lIns="468000" tIns="108000" rIns="468000" anchor="ctr"/>
          <a:lstStyle>
            <a:lvl1pPr marL="0" indent="0" algn="l">
              <a:lnSpc>
                <a:spcPts val="8000"/>
              </a:lnSpc>
              <a:spcAft>
                <a:spcPts val="3200"/>
              </a:spcAft>
              <a:buNone/>
              <a:defRPr sz="8000" b="0">
                <a:solidFill>
                  <a:schemeClr val="accent1"/>
                </a:solidFill>
              </a:defRPr>
            </a:lvl1pPr>
            <a:lvl2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2pPr>
            <a:lvl3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3pPr>
            <a:lvl4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4pPr>
            <a:lvl5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5pPr>
            <a:lvl6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6pPr>
            <a:lvl7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7pPr>
            <a:lvl8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8pPr>
            <a:lvl9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625013" y="8829272"/>
            <a:ext cx="5821891" cy="175124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5493469" y="8829272"/>
            <a:ext cx="360000" cy="175124"/>
          </a:xfrm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86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00060" y="4885203"/>
            <a:ext cx="12600000" cy="2736000"/>
          </a:xfrm>
          <a:noFill/>
        </p:spPr>
        <p:txBody>
          <a:bodyPr lIns="0" tIns="108000" rIns="468000" anchor="t"/>
          <a:lstStyle>
            <a:lvl1pPr marL="0" indent="0" algn="l">
              <a:lnSpc>
                <a:spcPts val="8000"/>
              </a:lnSpc>
              <a:spcAft>
                <a:spcPts val="0"/>
              </a:spcAft>
              <a:buNone/>
              <a:defRPr sz="8000" b="0">
                <a:solidFill>
                  <a:schemeClr val="bg1"/>
                </a:solidFill>
              </a:defRPr>
            </a:lvl1pPr>
            <a:lvl2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2pPr>
            <a:lvl3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3pPr>
            <a:lvl4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4pPr>
            <a:lvl5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5pPr>
            <a:lvl6pPr marL="0" indent="0" algn="l">
              <a:lnSpc>
                <a:spcPts val="8000"/>
              </a:lnSpc>
              <a:spcAft>
                <a:spcPts val="0"/>
              </a:spcAft>
              <a:buNone/>
              <a:tabLst/>
              <a:defRPr sz="8000">
                <a:solidFill>
                  <a:schemeClr val="bg1"/>
                </a:solidFill>
              </a:defRPr>
            </a:lvl6pPr>
            <a:lvl7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7pPr>
            <a:lvl8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8pPr>
            <a:lvl9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492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00060" y="4885203"/>
            <a:ext cx="12600000" cy="2736000"/>
          </a:xfrm>
          <a:noFill/>
        </p:spPr>
        <p:txBody>
          <a:bodyPr lIns="0" tIns="108000" rIns="468000" anchor="t"/>
          <a:lstStyle>
            <a:lvl1pPr marL="565200" indent="-565200" algn="l">
              <a:lnSpc>
                <a:spcPts val="8000"/>
              </a:lnSpc>
              <a:spcAft>
                <a:spcPts val="3200"/>
              </a:spcAft>
              <a:buNone/>
              <a:defRPr sz="8000" b="0">
                <a:solidFill>
                  <a:schemeClr val="bg1"/>
                </a:solidFill>
              </a:defRPr>
            </a:lvl1pPr>
            <a:lvl2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2pPr>
            <a:lvl3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3pPr>
            <a:lvl4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4pPr>
            <a:lvl5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5pPr>
            <a:lvl6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6pPr>
            <a:lvl7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7pPr>
            <a:lvl8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8pPr>
            <a:lvl9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6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ag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6728" y="8029112"/>
            <a:ext cx="5882400" cy="719241"/>
          </a:xfrm>
        </p:spPr>
        <p:txBody>
          <a:bodyPr anchor="t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88774" y="2726848"/>
            <a:ext cx="15368400" cy="1960374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800" b="1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22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60384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3" name="think-cell Folie" r:id="rId39" imgW="282" imgH="282" progId="TCLayout.ActiveDocument.1">
                  <p:embed/>
                </p:oleObj>
              </mc:Choice>
              <mc:Fallback>
                <p:oleObj name="think-cell Folie" r:id="rId39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048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1966" y="1998254"/>
            <a:ext cx="15296026" cy="66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25013" y="8829272"/>
            <a:ext cx="5821891" cy="1751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ts val="1600"/>
              </a:lnSpc>
              <a:spcAft>
                <a:spcPts val="800"/>
              </a:spcAft>
              <a:defRPr sz="1200">
                <a:solidFill>
                  <a:schemeClr val="tx1"/>
                </a:solidFill>
              </a:defRPr>
            </a:lvl1pPr>
            <a:lvl2pPr marL="0" indent="0" algn="r">
              <a:lnSpc>
                <a:spcPts val="1600"/>
              </a:lnSpc>
              <a:spcAft>
                <a:spcPts val="800"/>
              </a:spcAft>
              <a:defRPr sz="1200"/>
            </a:lvl2pPr>
            <a:lvl3pPr marL="0" indent="0" algn="r">
              <a:lnSpc>
                <a:spcPts val="1600"/>
              </a:lnSpc>
              <a:spcAft>
                <a:spcPts val="800"/>
              </a:spcAft>
              <a:defRPr sz="1200"/>
            </a:lvl3pPr>
            <a:lvl4pPr marL="0" indent="0" algn="r">
              <a:lnSpc>
                <a:spcPts val="1600"/>
              </a:lnSpc>
              <a:spcAft>
                <a:spcPts val="800"/>
              </a:spcAft>
              <a:defRPr sz="1200"/>
            </a:lvl4pPr>
            <a:lvl5pPr marL="0" indent="0" algn="r">
              <a:lnSpc>
                <a:spcPts val="1600"/>
              </a:lnSpc>
              <a:spcAft>
                <a:spcPts val="800"/>
              </a:spcAft>
              <a:defRPr sz="1200"/>
            </a:lvl5pPr>
            <a:lvl6pPr marL="0" indent="0" algn="r">
              <a:lnSpc>
                <a:spcPts val="1600"/>
              </a:lnSpc>
              <a:spcAft>
                <a:spcPts val="800"/>
              </a:spcAft>
              <a:defRPr sz="1200"/>
            </a:lvl6pPr>
            <a:lvl7pPr marL="0" indent="0" algn="r">
              <a:lnSpc>
                <a:spcPts val="1600"/>
              </a:lnSpc>
              <a:spcAft>
                <a:spcPts val="800"/>
              </a:spcAft>
              <a:defRPr sz="1200"/>
            </a:lvl7pPr>
            <a:lvl8pPr marL="0" indent="0" algn="r">
              <a:lnSpc>
                <a:spcPts val="1600"/>
              </a:lnSpc>
              <a:spcAft>
                <a:spcPts val="800"/>
              </a:spcAft>
              <a:defRPr sz="1200"/>
            </a:lvl8pPr>
            <a:lvl9pPr marL="4763" indent="0" algn="r">
              <a:lnSpc>
                <a:spcPts val="1600"/>
              </a:lnSpc>
              <a:spcAft>
                <a:spcPts val="800"/>
              </a:spcAft>
              <a:defRPr sz="1200"/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5493469" y="8829272"/>
            <a:ext cx="360000" cy="175124"/>
          </a:xfrm>
          <a:prstGeom prst="rect">
            <a:avLst/>
          </a:prstGeom>
          <a:blipFill>
            <a:blip r:embed="rId41"/>
            <a:stretch>
              <a:fillRect/>
            </a:stretch>
          </a:blipFill>
        </p:spPr>
        <p:txBody>
          <a:bodyPr vert="horz" lIns="61200" tIns="0" rIns="0" bIns="0" rtlCol="0" anchor="ctr">
            <a:noAutofit/>
          </a:bodyPr>
          <a:lstStyle>
            <a:lvl1pPr algn="l">
              <a:lnSpc>
                <a:spcPts val="1600"/>
              </a:lnSpc>
              <a:spcAft>
                <a:spcPts val="80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800"/>
              </a:spcAft>
              <a:defRPr sz="1200"/>
            </a:lvl2pPr>
            <a:lvl3pPr marL="0" indent="0">
              <a:lnSpc>
                <a:spcPts val="1600"/>
              </a:lnSpc>
              <a:spcAft>
                <a:spcPts val="800"/>
              </a:spcAft>
              <a:defRPr sz="1200"/>
            </a:lvl3pPr>
            <a:lvl4pPr marL="0" indent="0">
              <a:lnSpc>
                <a:spcPts val="1600"/>
              </a:lnSpc>
              <a:spcAft>
                <a:spcPts val="800"/>
              </a:spcAft>
              <a:defRPr sz="1200"/>
            </a:lvl4pPr>
            <a:lvl5pPr marL="0" indent="0">
              <a:lnSpc>
                <a:spcPts val="1600"/>
              </a:lnSpc>
              <a:spcAft>
                <a:spcPts val="800"/>
              </a:spcAft>
              <a:defRPr sz="1200"/>
            </a:lvl5pPr>
            <a:lvl6pPr marL="0" indent="0">
              <a:lnSpc>
                <a:spcPts val="1600"/>
              </a:lnSpc>
              <a:spcAft>
                <a:spcPts val="800"/>
              </a:spcAft>
              <a:defRPr sz="1200"/>
            </a:lvl6pPr>
            <a:lvl7pPr marL="0" indent="0">
              <a:lnSpc>
                <a:spcPts val="1600"/>
              </a:lnSpc>
              <a:spcAft>
                <a:spcPts val="800"/>
              </a:spcAft>
              <a:defRPr sz="1200"/>
            </a:lvl7pPr>
            <a:lvl8pPr marL="0" indent="0">
              <a:lnSpc>
                <a:spcPts val="1600"/>
              </a:lnSpc>
              <a:spcAft>
                <a:spcPts val="800"/>
              </a:spcAft>
              <a:defRPr sz="1200"/>
            </a:lvl8pPr>
            <a:lvl9pPr marL="0" indent="0">
              <a:lnSpc>
                <a:spcPts val="1600"/>
              </a:lnSpc>
              <a:spcAft>
                <a:spcPts val="800"/>
              </a:spcAft>
              <a:defRPr sz="1200"/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1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  <p:sldLayoutId id="2147483859" r:id="rId29"/>
    <p:sldLayoutId id="2147483860" r:id="rId30"/>
    <p:sldLayoutId id="2147483861" r:id="rId31"/>
    <p:sldLayoutId id="2147483862" r:id="rId32"/>
    <p:sldLayoutId id="2147483863" r:id="rId33"/>
    <p:sldLayoutId id="2147483864" r:id="rId34"/>
    <p:sldLayoutId id="2147483865" r:id="rId3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1451519" rtl="0" eaLnBrk="1" latinLnBrk="0" hangingPunct="1">
        <a:lnSpc>
          <a:spcPts val="4800"/>
        </a:lnSpc>
        <a:spcBef>
          <a:spcPct val="0"/>
        </a:spcBef>
        <a:spcAft>
          <a:spcPts val="2400"/>
        </a:spcAft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763" indent="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2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3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59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519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278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3037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796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4556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80315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6074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applied-deep-learning-part-4-convolutional-neural-networks-584bc134c1e2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0.gif"/><Relationship Id="rId4" Type="http://schemas.openxmlformats.org/officeDocument/2006/relationships/hyperlink" Target="https://medium.freecodecamp.org/an-intuitive-guide-to-convolutional-neural-networks-260c2de0a050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arnopencv.com/image-classification-using-convolutional-neural-networks-in-keras/" TargetMode="Externa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/>
              <a:t>Veronika Dashuber, Christoph </a:t>
            </a:r>
            <a:r>
              <a:rPr lang="de-DE" dirty="0" err="1"/>
              <a:t>Starnecker</a:t>
            </a:r>
            <a:r>
              <a:rPr lang="de-DE" dirty="0"/>
              <a:t>, Jonas Fritsch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00853" y="3309898"/>
            <a:ext cx="15359053" cy="1960374"/>
          </a:xfrm>
        </p:spPr>
        <p:txBody>
          <a:bodyPr/>
          <a:lstStyle/>
          <a:p>
            <a:r>
              <a:rPr lang="de-DE" dirty="0"/>
              <a:t>Künstliche Intelligenz </a:t>
            </a:r>
            <a:br>
              <a:rPr lang="de-DE" dirty="0"/>
            </a:br>
            <a:r>
              <a:rPr lang="de-DE" sz="4800" dirty="0"/>
              <a:t>Wie intelligent sind künstliche neuronale Netze wirklich?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München, </a:t>
            </a:r>
            <a:fld id="{5721916F-49EF-4222-9B3B-608AE6FA5F19}" type="datetime1">
              <a:rPr lang="de-DE" smtClean="0"/>
              <a:t>16.11.2018</a:t>
            </a:fld>
            <a:endParaRPr lang="de-DE" dirty="0"/>
          </a:p>
        </p:txBody>
      </p:sp>
      <p:pic>
        <p:nvPicPr>
          <p:cNvPr id="57346" name="Picture 2" descr="https://d33wubrfki0l68.cloudfront.net/61fe714ca01517a1d13603c42497c77af1a6250f/f6155/img/logo-old.png">
            <a:extLst>
              <a:ext uri="{FF2B5EF4-FFF2-40B4-BE49-F238E27FC236}">
                <a16:creationId xmlns:a16="http://schemas.microsoft.com/office/drawing/2014/main" id="{468BB67A-7FF7-4CAB-9BC3-33EAA4064F62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495" y="604067"/>
            <a:ext cx="3327697" cy="45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35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AAF5F-730D-4B4D-AAF5-BB333A91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unterschiedlicher Lay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EC838F-01C7-460E-A17E-C2913F329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6F021-10DC-4390-AB49-FEAC3C809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7575F95-D7BE-4E7A-B69C-1968EF5A3EF4}"/>
              </a:ext>
            </a:extLst>
          </p:cNvPr>
          <p:cNvSpPr txBox="1"/>
          <p:nvPr/>
        </p:nvSpPr>
        <p:spPr bwMode="gray">
          <a:xfrm>
            <a:off x="438944" y="1605950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 err="1"/>
              <a:t>Convolutional</a:t>
            </a:r>
            <a:r>
              <a:rPr lang="de-DE" sz="2800" b="1" dirty="0"/>
              <a:t> Layer</a:t>
            </a:r>
          </a:p>
        </p:txBody>
      </p:sp>
      <p:pic>
        <p:nvPicPr>
          <p:cNvPr id="54274" name="Picture 2" descr="Bildergebnis fÃ¼r convolutional layer">
            <a:extLst>
              <a:ext uri="{FF2B5EF4-FFF2-40B4-BE49-F238E27FC236}">
                <a16:creationId xmlns:a16="http://schemas.microsoft.com/office/drawing/2014/main" id="{498D76BA-0390-4B91-ACCB-80513CDED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727" y="2290504"/>
            <a:ext cx="7493501" cy="5106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9AAAB7E-DFC4-4D14-80C4-66EE09100812}"/>
              </a:ext>
            </a:extLst>
          </p:cNvPr>
          <p:cNvSpPr txBox="1"/>
          <p:nvPr/>
        </p:nvSpPr>
        <p:spPr bwMode="gray">
          <a:xfrm>
            <a:off x="169992" y="8831827"/>
            <a:ext cx="6882063" cy="3686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400"/>
              </a:lnSpc>
              <a:spcAft>
                <a:spcPts val="1200"/>
              </a:spcAft>
            </a:pPr>
            <a:r>
              <a:rPr lang="de-DE" sz="1000" dirty="0"/>
              <a:t>1 </a:t>
            </a:r>
            <a:r>
              <a:rPr lang="de-DE" sz="1000" dirty="0">
                <a:hlinkClick r:id="rId3"/>
              </a:rPr>
              <a:t>https://towardsdatascience.com/applied-deep-learning-part-4-convolutional-neural-networks-584bc134c1e2</a:t>
            </a:r>
            <a:endParaRPr lang="de-DE" sz="1000" dirty="0"/>
          </a:p>
          <a:p>
            <a:pPr>
              <a:lnSpc>
                <a:spcPts val="400"/>
              </a:lnSpc>
              <a:spcAft>
                <a:spcPts val="1200"/>
              </a:spcAft>
            </a:pPr>
            <a:r>
              <a:rPr lang="de-DE" sz="1000" dirty="0"/>
              <a:t>2 </a:t>
            </a:r>
            <a:r>
              <a:rPr lang="de-DE" sz="1000" dirty="0">
                <a:hlinkClick r:id="rId4"/>
              </a:rPr>
              <a:t>https://medium.freecodecamp.org/an-intuitive-guide-to-convolutional-neural-networks-260c2de0a050</a:t>
            </a:r>
            <a:r>
              <a:rPr lang="de-DE" sz="1000" dirty="0"/>
              <a:t> </a:t>
            </a:r>
          </a:p>
        </p:txBody>
      </p:sp>
      <p:pic>
        <p:nvPicPr>
          <p:cNvPr id="54276" name="Picture 4" descr="https://cdn-images-1.medium.com/max/800/0*iqNdZWyNeCr5tCkc.">
            <a:extLst>
              <a:ext uri="{FF2B5EF4-FFF2-40B4-BE49-F238E27FC236}">
                <a16:creationId xmlns:a16="http://schemas.microsoft.com/office/drawing/2014/main" id="{264A4871-020F-4CD6-B13C-BA38B1FE9BF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4770" y="2961824"/>
            <a:ext cx="3762375" cy="427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9F78D65C-3118-4128-9811-6C71D7535D33}"/>
              </a:ext>
            </a:extLst>
          </p:cNvPr>
          <p:cNvSpPr txBox="1"/>
          <p:nvPr/>
        </p:nvSpPr>
        <p:spPr bwMode="gray">
          <a:xfrm>
            <a:off x="8566898" y="7536901"/>
            <a:ext cx="168027" cy="2327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000" dirty="0"/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EC66C7B8-45A0-4663-9C3D-A1892903CA69}"/>
              </a:ext>
            </a:extLst>
          </p:cNvPr>
          <p:cNvSpPr txBox="1"/>
          <p:nvPr/>
        </p:nvSpPr>
        <p:spPr bwMode="gray">
          <a:xfrm>
            <a:off x="14417145" y="7536901"/>
            <a:ext cx="168027" cy="2327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000" dirty="0"/>
              <a:t>2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7C4721EF-A806-4F8F-884B-6F898B476E08}"/>
              </a:ext>
            </a:extLst>
          </p:cNvPr>
          <p:cNvSpPr txBox="1"/>
          <p:nvPr/>
        </p:nvSpPr>
        <p:spPr bwMode="gray">
          <a:xfrm>
            <a:off x="1670828" y="7718882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dirty="0">
                <a:sym typeface="Wingdings" panose="05000000000000000000" pitchFamily="2" charset="2"/>
              </a:rPr>
              <a:t>Problem: Randpixel gehen verloren</a:t>
            </a:r>
            <a:endParaRPr lang="de-DE" sz="2400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0F8E54CF-9FF7-4E99-AD17-B6C8E136A9E0}"/>
              </a:ext>
            </a:extLst>
          </p:cNvPr>
          <p:cNvSpPr txBox="1"/>
          <p:nvPr/>
        </p:nvSpPr>
        <p:spPr bwMode="gray">
          <a:xfrm>
            <a:off x="10704781" y="7718882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dirty="0">
                <a:sym typeface="Wingdings" panose="05000000000000000000" pitchFamily="2" charset="2"/>
              </a:rPr>
              <a:t>Lösung: </a:t>
            </a:r>
            <a:r>
              <a:rPr lang="de-DE" sz="2400" dirty="0" err="1">
                <a:sym typeface="Wingdings" panose="05000000000000000000" pitchFamily="2" charset="2"/>
              </a:rPr>
              <a:t>Padding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54536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5" grpId="0"/>
      <p:bldP spid="49" grpId="0"/>
      <p:bldP spid="51" grpId="0"/>
      <p:bldP spid="53" grpId="0"/>
      <p:bldP spid="5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AAF5F-730D-4B4D-AAF5-BB333A91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unterschiedlicher Lay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EC838F-01C7-460E-A17E-C2913F329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6F021-10DC-4390-AB49-FEAC3C809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5298" name="Picture 2" descr="Bildergebnis fÃ¼r maxpooling layer">
            <a:extLst>
              <a:ext uri="{FF2B5EF4-FFF2-40B4-BE49-F238E27FC236}">
                <a16:creationId xmlns:a16="http://schemas.microsoft.com/office/drawing/2014/main" id="{07CFCF9C-70B5-4324-BDC0-BC90A3120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6453" y="2001044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feld 73">
            <a:extLst>
              <a:ext uri="{FF2B5EF4-FFF2-40B4-BE49-F238E27FC236}">
                <a16:creationId xmlns:a16="http://schemas.microsoft.com/office/drawing/2014/main" id="{F7575F95-D7BE-4E7A-B69C-1968EF5A3EF4}"/>
              </a:ext>
            </a:extLst>
          </p:cNvPr>
          <p:cNvSpPr txBox="1"/>
          <p:nvPr/>
        </p:nvSpPr>
        <p:spPr bwMode="gray">
          <a:xfrm>
            <a:off x="438944" y="1780221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/>
              <a:t>Maxpooling Laye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51BE656-AC75-4228-A684-BA2DBA87DE0D}"/>
              </a:ext>
            </a:extLst>
          </p:cNvPr>
          <p:cNvSpPr txBox="1"/>
          <p:nvPr/>
        </p:nvSpPr>
        <p:spPr bwMode="gray">
          <a:xfrm>
            <a:off x="169992" y="8831827"/>
            <a:ext cx="6882063" cy="3686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400"/>
              </a:lnSpc>
              <a:spcAft>
                <a:spcPts val="1200"/>
              </a:spcAft>
            </a:pPr>
            <a:r>
              <a:rPr lang="de-DE" sz="1000" dirty="0"/>
              <a:t>1 </a:t>
            </a:r>
            <a:r>
              <a:rPr lang="de-DE" sz="1000" dirty="0">
                <a:hlinkClick r:id="rId3"/>
              </a:rPr>
              <a:t>https://www.learnopencv.com/image-classification-using-convolutional-neural-networks-in-keras/</a:t>
            </a:r>
            <a:r>
              <a:rPr lang="de-DE" sz="1000" dirty="0"/>
              <a:t>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232BCC2-F913-4810-96B2-ACA2612685DE}"/>
              </a:ext>
            </a:extLst>
          </p:cNvPr>
          <p:cNvSpPr txBox="1"/>
          <p:nvPr/>
        </p:nvSpPr>
        <p:spPr bwMode="gray">
          <a:xfrm>
            <a:off x="10768677" y="5479501"/>
            <a:ext cx="168027" cy="2327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000" dirty="0"/>
              <a:t>1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D45786-6237-4742-806B-C9A3351937FB}"/>
              </a:ext>
            </a:extLst>
          </p:cNvPr>
          <p:cNvSpPr txBox="1"/>
          <p:nvPr/>
        </p:nvSpPr>
        <p:spPr bwMode="gray">
          <a:xfrm>
            <a:off x="3843880" y="7406096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dirty="0">
                <a:sym typeface="Wingdings" panose="05000000000000000000" pitchFamily="2" charset="2"/>
              </a:rPr>
              <a:t> Größe reduzieren (Breite x Höhe)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41249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4" grpId="0"/>
      <p:bldP spid="15" grpId="0"/>
      <p:bldP spid="1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9625013" y="8829272"/>
            <a:ext cx="5821891" cy="175124"/>
          </a:xfrm>
        </p:spPr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3250" name="Picture 2" descr="Ãhnliches Foto">
            <a:extLst>
              <a:ext uri="{FF2B5EF4-FFF2-40B4-BE49-F238E27FC236}">
                <a16:creationId xmlns:a16="http://schemas.microsoft.com/office/drawing/2014/main" id="{F0043987-D650-491D-AD94-734CC93B4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3263" y="1382987"/>
            <a:ext cx="7229475" cy="601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74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47053D-9882-4A06-844E-7E6FBAAD9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F93A62-7255-4E39-BBE0-5926F995C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48BE149-C836-4D40-9F72-DCDC6E6202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NTO NEURAL NETWORKS </a:t>
            </a:r>
          </a:p>
        </p:txBody>
      </p:sp>
    </p:spTree>
    <p:extLst>
      <p:ext uri="{BB962C8B-B14F-4D97-AF65-F5344CB8AC3E}">
        <p14:creationId xmlns:p14="http://schemas.microsoft.com/office/powerpoint/2010/main" val="407505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47053D-9882-4A06-844E-7E6FBAAD9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F93A62-7255-4E39-BBE0-5926F995C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48BE149-C836-4D40-9F72-DCDC6E6202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CODING!</a:t>
            </a:r>
          </a:p>
        </p:txBody>
      </p:sp>
    </p:spTree>
    <p:extLst>
      <p:ext uri="{BB962C8B-B14F-4D97-AF65-F5344CB8AC3E}">
        <p14:creationId xmlns:p14="http://schemas.microsoft.com/office/powerpoint/2010/main" val="363519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773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0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70518"/>
            <a:ext cx="16256000" cy="10616106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495300" y="696010"/>
            <a:ext cx="11952000" cy="2736000"/>
          </a:xfrm>
        </p:spPr>
        <p:txBody>
          <a:bodyPr/>
          <a:lstStyle/>
          <a:p>
            <a:r>
              <a:rPr lang="de-DE" dirty="0"/>
              <a:t>Los geht'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 bwMode="gray">
          <a:xfrm rot="16200000">
            <a:off x="13519156" y="5829705"/>
            <a:ext cx="5235879" cy="275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200" cap="small" dirty="0">
                <a:solidFill>
                  <a:srgbClr val="242424"/>
                </a:solidFill>
              </a:rPr>
              <a:t>Bild: CHBD – gettyimages.de</a:t>
            </a:r>
          </a:p>
        </p:txBody>
      </p:sp>
    </p:spTree>
    <p:extLst>
      <p:ext uri="{BB962C8B-B14F-4D97-AF65-F5344CB8AC3E}">
        <p14:creationId xmlns:p14="http://schemas.microsoft.com/office/powerpoint/2010/main" val="117903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47053D-9882-4A06-844E-7E6FBAAD9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F93A62-7255-4E39-BBE0-5926F995C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48BE149-C836-4D40-9F72-DCDC6E6202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ure Meinung?! </a:t>
            </a:r>
          </a:p>
          <a:p>
            <a:r>
              <a:rPr lang="de-DE" sz="7200" dirty="0"/>
              <a:t>KI – Hype oder Durchbruch?</a:t>
            </a:r>
          </a:p>
        </p:txBody>
      </p:sp>
    </p:spTree>
    <p:extLst>
      <p:ext uri="{BB962C8B-B14F-4D97-AF65-F5344CB8AC3E}">
        <p14:creationId xmlns:p14="http://schemas.microsoft.com/office/powerpoint/2010/main" val="400839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DF50324-BCD4-4D1F-96B3-4FF5401E250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 bwMode="gray">
          <a:xfrm>
            <a:off x="6249185" y="8326366"/>
            <a:ext cx="4949680" cy="414844"/>
          </a:xfrm>
        </p:spPr>
        <p:txBody>
          <a:bodyPr/>
          <a:lstStyle/>
          <a:p>
            <a:r>
              <a:rPr lang="de-DE" dirty="0"/>
              <a:t>xing.com/</a:t>
            </a:r>
            <a:r>
              <a:rPr lang="de-DE" dirty="0" err="1"/>
              <a:t>companies</a:t>
            </a:r>
            <a:r>
              <a:rPr lang="de-DE" dirty="0"/>
              <a:t>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20"/>
          </p:nvPr>
        </p:nvSpPr>
        <p:spPr bwMode="gray">
          <a:xfrm>
            <a:off x="5602278" y="7299383"/>
            <a:ext cx="414000" cy="414000"/>
          </a:xfrm>
        </p:spPr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gray">
          <a:xfrm>
            <a:off x="6249185" y="7810507"/>
            <a:ext cx="5140636" cy="414844"/>
          </a:xfrm>
        </p:spPr>
        <p:txBody>
          <a:bodyPr/>
          <a:lstStyle/>
          <a:p>
            <a:r>
              <a:rPr lang="de-DE" dirty="0"/>
              <a:t>linkedin.com/</a:t>
            </a:r>
            <a:r>
              <a:rPr lang="de-DE" dirty="0" err="1"/>
              <a:t>company</a:t>
            </a:r>
            <a:r>
              <a:rPr lang="de-DE" dirty="0"/>
              <a:t>/</a:t>
            </a:r>
            <a:r>
              <a:rPr lang="de-DE" dirty="0" err="1"/>
              <a:t>qaware-gmbh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53834" y="7810507"/>
            <a:ext cx="3204000" cy="414844"/>
          </a:xfrm>
        </p:spPr>
        <p:txBody>
          <a:bodyPr/>
          <a:lstStyle/>
          <a:p>
            <a:r>
              <a:rPr lang="de-DE" dirty="0"/>
              <a:t>slideshare.net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6249185" y="7298539"/>
            <a:ext cx="3204000" cy="414844"/>
          </a:xfrm>
        </p:spPr>
        <p:txBody>
          <a:bodyPr/>
          <a:lstStyle/>
          <a:p>
            <a:r>
              <a:rPr lang="de-DE" dirty="0"/>
              <a:t>twitter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21"/>
          </p:nvPr>
        </p:nvSpPr>
        <p:spPr bwMode="gray">
          <a:xfrm>
            <a:off x="5602278" y="7811351"/>
            <a:ext cx="414000" cy="414000"/>
          </a:xfrm>
        </p:spPr>
      </p:sp>
      <p:sp>
        <p:nvSpPr>
          <p:cNvPr id="22" name="Bildplatzhalter 21"/>
          <p:cNvSpPr>
            <a:spLocks noGrp="1"/>
          </p:cNvSpPr>
          <p:nvPr>
            <p:ph type="pic" sz="quarter" idx="22"/>
          </p:nvPr>
        </p:nvSpPr>
        <p:spPr bwMode="gray">
          <a:xfrm>
            <a:off x="11490951" y="7299383"/>
            <a:ext cx="414000" cy="414000"/>
          </a:xfrm>
        </p:spPr>
      </p:sp>
      <p:sp>
        <p:nvSpPr>
          <p:cNvPr id="23" name="Bildplatzhalter 22"/>
          <p:cNvSpPr>
            <a:spLocks noGrp="1"/>
          </p:cNvSpPr>
          <p:nvPr>
            <p:ph type="pic" sz="quarter" idx="24"/>
          </p:nvPr>
        </p:nvSpPr>
        <p:spPr bwMode="gray">
          <a:xfrm>
            <a:off x="5602278" y="8326452"/>
            <a:ext cx="414000" cy="414000"/>
          </a:xfrm>
        </p:spPr>
      </p:sp>
      <p:sp>
        <p:nvSpPr>
          <p:cNvPr id="24" name="Bildplatzhalter 23"/>
          <p:cNvSpPr>
            <a:spLocks noGrp="1"/>
          </p:cNvSpPr>
          <p:nvPr>
            <p:ph type="pic" sz="quarter" idx="25"/>
          </p:nvPr>
        </p:nvSpPr>
        <p:spPr bwMode="gray">
          <a:xfrm>
            <a:off x="11506927" y="7811351"/>
            <a:ext cx="414000" cy="414000"/>
          </a:xfrm>
        </p:spPr>
      </p:sp>
      <p:sp>
        <p:nvSpPr>
          <p:cNvPr id="25" name="Bildplatzhalter 24"/>
          <p:cNvSpPr>
            <a:spLocks noGrp="1"/>
          </p:cNvSpPr>
          <p:nvPr>
            <p:ph type="pic" sz="quarter" idx="26"/>
          </p:nvPr>
        </p:nvSpPr>
        <p:spPr bwMode="gray">
          <a:xfrm>
            <a:off x="11506927" y="8327210"/>
            <a:ext cx="414000" cy="414000"/>
          </a:xfrm>
        </p:spPr>
      </p:sp>
      <p:sp>
        <p:nvSpPr>
          <p:cNvPr id="26" name="Textplatzhalter 25"/>
          <p:cNvSpPr>
            <a:spLocks noGrp="1"/>
          </p:cNvSpPr>
          <p:nvPr>
            <p:ph type="body" sz="quarter" idx="27"/>
          </p:nvPr>
        </p:nvSpPr>
        <p:spPr bwMode="gray">
          <a:xfrm>
            <a:off x="12153833" y="8326366"/>
            <a:ext cx="3893981" cy="414844"/>
          </a:xfrm>
        </p:spPr>
        <p:txBody>
          <a:bodyPr/>
          <a:lstStyle/>
          <a:p>
            <a:r>
              <a:rPr lang="de-DE" dirty="0"/>
              <a:t>youtube.com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7D679A-2E90-4EE4-A625-680C6BFE69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153834" y="7298539"/>
            <a:ext cx="3204000" cy="414844"/>
          </a:xfrm>
        </p:spPr>
        <p:txBody>
          <a:bodyPr/>
          <a:lstStyle/>
          <a:p>
            <a:r>
              <a:rPr lang="de-DE" dirty="0"/>
              <a:t>github.com/</a:t>
            </a:r>
            <a:r>
              <a:rPr lang="de-DE" dirty="0" err="1"/>
              <a:t>qawa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67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DF50324-BCD4-4D1F-96B3-4FF5401E2506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000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DF50324-BCD4-4D1F-96B3-4FF5401E250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Neuronale </a:t>
            </a:r>
            <a:r>
              <a:rPr lang="de-DE" dirty="0" err="1">
                <a:solidFill>
                  <a:srgbClr val="FFFFFF"/>
                </a:solidFill>
              </a:rPr>
              <a:t>waaaas</a:t>
            </a:r>
            <a:r>
              <a:rPr lang="de-DE" dirty="0">
                <a:solidFill>
                  <a:srgbClr val="FFFFFF"/>
                </a:solidFill>
              </a:rPr>
              <a:t>? – Einführung KI</a:t>
            </a:r>
          </a:p>
          <a:p>
            <a:r>
              <a:rPr lang="de-DE" dirty="0">
                <a:solidFill>
                  <a:srgbClr val="FFFFFF"/>
                </a:solidFill>
              </a:rPr>
              <a:t>Aber wie…?</a:t>
            </a:r>
          </a:p>
          <a:p>
            <a:r>
              <a:rPr lang="de-DE" dirty="0" err="1">
                <a:solidFill>
                  <a:srgbClr val="FFFFFF"/>
                </a:solidFill>
              </a:rPr>
              <a:t>Into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neural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networks</a:t>
            </a:r>
            <a:endParaRPr lang="de-DE" dirty="0">
              <a:solidFill>
                <a:srgbClr val="FFFFFF"/>
              </a:solidFill>
            </a:endParaRPr>
          </a:p>
          <a:p>
            <a:r>
              <a:rPr lang="de-DE" dirty="0">
                <a:solidFill>
                  <a:srgbClr val="FFFFFF"/>
                </a:solidFill>
              </a:rPr>
              <a:t>Coding!</a:t>
            </a:r>
          </a:p>
          <a:p>
            <a:r>
              <a:rPr lang="de-DE" dirty="0">
                <a:solidFill>
                  <a:srgbClr val="FFFFFF"/>
                </a:solidFill>
              </a:rPr>
              <a:t>Diskussion &amp; Abschluss</a:t>
            </a:r>
          </a:p>
          <a:p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215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00060" y="4885203"/>
            <a:ext cx="14714434" cy="2736000"/>
          </a:xfrm>
        </p:spPr>
        <p:txBody>
          <a:bodyPr/>
          <a:lstStyle/>
          <a:p>
            <a:r>
              <a:rPr lang="de-DE" dirty="0"/>
              <a:t>Einführung KI </a:t>
            </a:r>
          </a:p>
        </p:txBody>
      </p:sp>
    </p:spTree>
    <p:extLst>
      <p:ext uri="{BB962C8B-B14F-4D97-AF65-F5344CB8AC3E}">
        <p14:creationId xmlns:p14="http://schemas.microsoft.com/office/powerpoint/2010/main" val="9977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enkansatz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F44273A-4C63-45A1-984B-6875887A3E30}"/>
              </a:ext>
            </a:extLst>
          </p:cNvPr>
          <p:cNvSpPr/>
          <p:nvPr/>
        </p:nvSpPr>
        <p:spPr bwMode="gray">
          <a:xfrm>
            <a:off x="5059017" y="2325757"/>
            <a:ext cx="4949687" cy="2295940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8E08296-07C4-420F-B02A-51D36D5D12B4}"/>
              </a:ext>
            </a:extLst>
          </p:cNvPr>
          <p:cNvSpPr/>
          <p:nvPr/>
        </p:nvSpPr>
        <p:spPr bwMode="gray">
          <a:xfrm>
            <a:off x="5059017" y="6423990"/>
            <a:ext cx="4949687" cy="2295940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5B0CC7-E92C-4B2D-8C48-0C68855FE485}"/>
              </a:ext>
            </a:extLst>
          </p:cNvPr>
          <p:cNvSpPr txBox="1"/>
          <p:nvPr/>
        </p:nvSpPr>
        <p:spPr bwMode="gray">
          <a:xfrm>
            <a:off x="1431235" y="2842591"/>
            <a:ext cx="1093304" cy="4273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Data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DA5994E-4A63-4874-9574-A5013B0FD940}"/>
              </a:ext>
            </a:extLst>
          </p:cNvPr>
          <p:cNvCxnSpPr>
            <a:cxnSpLocks/>
          </p:cNvCxnSpPr>
          <p:nvPr/>
        </p:nvCxnSpPr>
        <p:spPr bwMode="gray">
          <a:xfrm flipV="1">
            <a:off x="2683566" y="2991681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18049772-754B-4230-8C6B-F67F88105599}"/>
              </a:ext>
            </a:extLst>
          </p:cNvPr>
          <p:cNvSpPr txBox="1"/>
          <p:nvPr/>
        </p:nvSpPr>
        <p:spPr bwMode="gray">
          <a:xfrm>
            <a:off x="745435" y="3770244"/>
            <a:ext cx="1802296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 err="1"/>
              <a:t>Program</a:t>
            </a:r>
            <a:endParaRPr lang="de-DE" sz="3600" dirty="0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F67474E0-0B7D-4747-B1C1-726CBD145FA3}"/>
              </a:ext>
            </a:extLst>
          </p:cNvPr>
          <p:cNvCxnSpPr>
            <a:cxnSpLocks/>
          </p:cNvCxnSpPr>
          <p:nvPr/>
        </p:nvCxnSpPr>
        <p:spPr bwMode="gray">
          <a:xfrm flipV="1">
            <a:off x="2706758" y="3919334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0E607AF-EFB2-4621-B00A-ACFB2E7621AF}"/>
              </a:ext>
            </a:extLst>
          </p:cNvPr>
          <p:cNvCxnSpPr>
            <a:cxnSpLocks/>
          </p:cNvCxnSpPr>
          <p:nvPr/>
        </p:nvCxnSpPr>
        <p:spPr bwMode="gray">
          <a:xfrm flipV="1">
            <a:off x="10542104" y="3458819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12904D2-BCB1-4049-80C4-14F5DD6917A9}"/>
              </a:ext>
            </a:extLst>
          </p:cNvPr>
          <p:cNvSpPr txBox="1"/>
          <p:nvPr/>
        </p:nvSpPr>
        <p:spPr bwMode="gray">
          <a:xfrm>
            <a:off x="12785035" y="3342861"/>
            <a:ext cx="1646582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Outpu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C863E2C-D9D2-437C-B92D-9EAC71A14134}"/>
              </a:ext>
            </a:extLst>
          </p:cNvPr>
          <p:cNvSpPr txBox="1"/>
          <p:nvPr/>
        </p:nvSpPr>
        <p:spPr bwMode="gray">
          <a:xfrm>
            <a:off x="6376365" y="3320315"/>
            <a:ext cx="2314990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b="1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01A1FFB-EC2C-44FB-B081-DA8386BCB5D8}"/>
              </a:ext>
            </a:extLst>
          </p:cNvPr>
          <p:cNvSpPr txBox="1"/>
          <p:nvPr/>
        </p:nvSpPr>
        <p:spPr bwMode="gray">
          <a:xfrm>
            <a:off x="6376365" y="7478182"/>
            <a:ext cx="2314990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b="1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4CF134B-FB9A-489D-93C0-BB2026621DA9}"/>
              </a:ext>
            </a:extLst>
          </p:cNvPr>
          <p:cNvSpPr txBox="1"/>
          <p:nvPr/>
        </p:nvSpPr>
        <p:spPr bwMode="gray">
          <a:xfrm>
            <a:off x="1435585" y="6993001"/>
            <a:ext cx="1093304" cy="4273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Data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7D94B6C-EA55-4F95-8359-18CDA8D7ED4B}"/>
              </a:ext>
            </a:extLst>
          </p:cNvPr>
          <p:cNvCxnSpPr>
            <a:cxnSpLocks/>
          </p:cNvCxnSpPr>
          <p:nvPr/>
        </p:nvCxnSpPr>
        <p:spPr bwMode="gray">
          <a:xfrm flipV="1">
            <a:off x="2687916" y="7142091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1AA0CF3-3BB7-4281-AA68-C8A35DCD60D9}"/>
              </a:ext>
            </a:extLst>
          </p:cNvPr>
          <p:cNvSpPr txBox="1"/>
          <p:nvPr/>
        </p:nvSpPr>
        <p:spPr bwMode="gray">
          <a:xfrm>
            <a:off x="1023729" y="7920654"/>
            <a:ext cx="1528351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Output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AAC094E-D322-42C1-91EC-A24A12F1B91F}"/>
              </a:ext>
            </a:extLst>
          </p:cNvPr>
          <p:cNvCxnSpPr>
            <a:cxnSpLocks/>
          </p:cNvCxnSpPr>
          <p:nvPr/>
        </p:nvCxnSpPr>
        <p:spPr bwMode="gray">
          <a:xfrm flipV="1">
            <a:off x="2711108" y="8069744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E1FAA6A5-0105-4C67-88D0-7A7B90D42DEA}"/>
              </a:ext>
            </a:extLst>
          </p:cNvPr>
          <p:cNvCxnSpPr>
            <a:cxnSpLocks/>
          </p:cNvCxnSpPr>
          <p:nvPr/>
        </p:nvCxnSpPr>
        <p:spPr bwMode="gray">
          <a:xfrm flipV="1">
            <a:off x="10542104" y="7574895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C5811C22-8838-4329-B16C-F4227DBED7E5}"/>
              </a:ext>
            </a:extLst>
          </p:cNvPr>
          <p:cNvSpPr txBox="1"/>
          <p:nvPr/>
        </p:nvSpPr>
        <p:spPr bwMode="gray">
          <a:xfrm>
            <a:off x="12785034" y="7458937"/>
            <a:ext cx="1755913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 err="1"/>
              <a:t>Program</a:t>
            </a:r>
            <a:endParaRPr lang="de-DE" sz="3600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9630E18-3107-4B22-B6A4-9EADEFA80327}"/>
              </a:ext>
            </a:extLst>
          </p:cNvPr>
          <p:cNvSpPr txBox="1"/>
          <p:nvPr/>
        </p:nvSpPr>
        <p:spPr bwMode="gray">
          <a:xfrm>
            <a:off x="591343" y="5781362"/>
            <a:ext cx="6518448" cy="4416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4000" b="1" dirty="0" err="1"/>
              <a:t>Machine</a:t>
            </a:r>
            <a:r>
              <a:rPr lang="de-DE" sz="4000" b="1" dirty="0"/>
              <a:t> Learnin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D63AB9C0-4905-4BA4-A98E-51749BB271EE}"/>
              </a:ext>
            </a:extLst>
          </p:cNvPr>
          <p:cNvSpPr txBox="1"/>
          <p:nvPr/>
        </p:nvSpPr>
        <p:spPr bwMode="gray">
          <a:xfrm>
            <a:off x="591343" y="1640578"/>
            <a:ext cx="6518448" cy="4416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4000" b="1" dirty="0"/>
              <a:t>Traditional </a:t>
            </a:r>
            <a:r>
              <a:rPr lang="de-DE" sz="4000" b="1" dirty="0" err="1"/>
              <a:t>Programming</a:t>
            </a:r>
            <a:endParaRPr lang="de-DE" sz="4000" b="1" dirty="0"/>
          </a:p>
        </p:txBody>
      </p:sp>
    </p:spTree>
    <p:extLst>
      <p:ext uri="{BB962C8B-B14F-4D97-AF65-F5344CB8AC3E}">
        <p14:creationId xmlns:p14="http://schemas.microsoft.com/office/powerpoint/2010/main" val="338096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3" grpId="0"/>
      <p:bldP spid="16" grpId="0"/>
      <p:bldP spid="17" grpId="0"/>
      <p:bldP spid="19" grpId="0"/>
      <p:bldP spid="20" grpId="0"/>
      <p:bldP spid="22" grpId="0"/>
      <p:bldP spid="25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zzword Bingo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FBDCC3F8-878A-4419-91FA-6F6B4BAA09B3}"/>
              </a:ext>
            </a:extLst>
          </p:cNvPr>
          <p:cNvGraphicFramePr/>
          <p:nvPr/>
        </p:nvGraphicFramePr>
        <p:xfrm>
          <a:off x="1795326" y="1076098"/>
          <a:ext cx="12665347" cy="7607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8952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00060" y="4885203"/>
            <a:ext cx="14714434" cy="2736000"/>
          </a:xfrm>
        </p:spPr>
        <p:txBody>
          <a:bodyPr/>
          <a:lstStyle/>
          <a:p>
            <a:r>
              <a:rPr lang="de-DE" dirty="0"/>
              <a:t>Aber wie…? </a:t>
            </a:r>
          </a:p>
        </p:txBody>
      </p:sp>
    </p:spTree>
    <p:extLst>
      <p:ext uri="{BB962C8B-B14F-4D97-AF65-F5344CB8AC3E}">
        <p14:creationId xmlns:p14="http://schemas.microsoft.com/office/powerpoint/2010/main" val="305315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944" y="428651"/>
            <a:ext cx="15319048" cy="540000"/>
          </a:xfrm>
        </p:spPr>
        <p:txBody>
          <a:bodyPr/>
          <a:lstStyle/>
          <a:p>
            <a:r>
              <a:rPr lang="de-DE" dirty="0"/>
              <a:t>Grundprinzip neuronale Netze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12D7F59-5A95-45C5-AB5A-FD0D52A134D9}"/>
              </a:ext>
            </a:extLst>
          </p:cNvPr>
          <p:cNvSpPr/>
          <p:nvPr/>
        </p:nvSpPr>
        <p:spPr bwMode="gray">
          <a:xfrm>
            <a:off x="4492483" y="3757787"/>
            <a:ext cx="2743199" cy="1828799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/>
              <a:t>Neuronales Netz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4320A44-6BE6-4534-9372-C7C6CD65CF14}"/>
              </a:ext>
            </a:extLst>
          </p:cNvPr>
          <p:cNvCxnSpPr>
            <a:cxnSpLocks/>
          </p:cNvCxnSpPr>
          <p:nvPr/>
        </p:nvCxnSpPr>
        <p:spPr bwMode="gray">
          <a:xfrm flipV="1">
            <a:off x="2514597" y="4648227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B9911B8F-B647-4E46-B0D1-0F07DE0C2966}"/>
              </a:ext>
            </a:extLst>
          </p:cNvPr>
          <p:cNvSpPr txBox="1"/>
          <p:nvPr/>
        </p:nvSpPr>
        <p:spPr bwMode="gray">
          <a:xfrm>
            <a:off x="3026463" y="4184375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Inpu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27FF3A7D-06FD-4ECC-B7E2-DF8EC938E66B}"/>
              </a:ext>
            </a:extLst>
          </p:cNvPr>
          <p:cNvCxnSpPr>
            <a:cxnSpLocks/>
          </p:cNvCxnSpPr>
          <p:nvPr/>
        </p:nvCxnSpPr>
        <p:spPr bwMode="gray">
          <a:xfrm flipV="1">
            <a:off x="7235682" y="4672186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4B920CE8-FD13-4802-A7D5-09A28E4BC3C3}"/>
              </a:ext>
            </a:extLst>
          </p:cNvPr>
          <p:cNvSpPr/>
          <p:nvPr/>
        </p:nvSpPr>
        <p:spPr bwMode="gray">
          <a:xfrm>
            <a:off x="9191483" y="4061818"/>
            <a:ext cx="1242392" cy="117281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∆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AD0B43A-458A-4EFC-B617-30CAF5ED69D9}"/>
              </a:ext>
            </a:extLst>
          </p:cNvPr>
          <p:cNvSpPr txBox="1"/>
          <p:nvPr/>
        </p:nvSpPr>
        <p:spPr bwMode="gray">
          <a:xfrm>
            <a:off x="7633247" y="4208334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Output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1D3378DE-BA63-4340-9E88-C2971A4DAF1C}"/>
              </a:ext>
            </a:extLst>
          </p:cNvPr>
          <p:cNvCxnSpPr>
            <a:cxnSpLocks/>
            <a:endCxn id="10" idx="4"/>
          </p:cNvCxnSpPr>
          <p:nvPr/>
        </p:nvCxnSpPr>
        <p:spPr bwMode="gray">
          <a:xfrm flipV="1">
            <a:off x="9812679" y="5234635"/>
            <a:ext cx="0" cy="1673062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632C4EF1-5E94-47E3-9CD1-3DE2FE3FEFEA}"/>
              </a:ext>
            </a:extLst>
          </p:cNvPr>
          <p:cNvSpPr txBox="1"/>
          <p:nvPr/>
        </p:nvSpPr>
        <p:spPr bwMode="gray">
          <a:xfrm>
            <a:off x="11492905" y="4208334"/>
            <a:ext cx="2670319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Loss </a:t>
            </a:r>
            <a:r>
              <a:rPr lang="de-DE" sz="2400" b="1" dirty="0" err="1"/>
              <a:t>Function</a:t>
            </a:r>
            <a:endParaRPr lang="de-DE" sz="2400" b="1" dirty="0"/>
          </a:p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(Verlustfunktion)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E73FB36F-0ECB-4321-83D4-A1013B09683B}"/>
              </a:ext>
            </a:extLst>
          </p:cNvPr>
          <p:cNvCxnSpPr>
            <a:cxnSpLocks/>
          </p:cNvCxnSpPr>
          <p:nvPr/>
        </p:nvCxnSpPr>
        <p:spPr bwMode="gray">
          <a:xfrm>
            <a:off x="5864082" y="2386830"/>
            <a:ext cx="0" cy="1370957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A39932D2-F3E4-441A-B92D-1272C86FC113}"/>
              </a:ext>
            </a:extLst>
          </p:cNvPr>
          <p:cNvCxnSpPr>
            <a:cxnSpLocks/>
          </p:cNvCxnSpPr>
          <p:nvPr/>
        </p:nvCxnSpPr>
        <p:spPr bwMode="gray">
          <a:xfrm>
            <a:off x="5824325" y="2397375"/>
            <a:ext cx="3959087" cy="0"/>
          </a:xfrm>
          <a:prstGeom prst="line">
            <a:avLst/>
          </a:prstGeom>
          <a:ln w="762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1D5C23D-96D6-40E1-9BA1-85495776716A}"/>
              </a:ext>
            </a:extLst>
          </p:cNvPr>
          <p:cNvCxnSpPr>
            <a:cxnSpLocks/>
            <a:stCxn id="10" idx="0"/>
          </p:cNvCxnSpPr>
          <p:nvPr/>
        </p:nvCxnSpPr>
        <p:spPr bwMode="gray">
          <a:xfrm flipV="1">
            <a:off x="9812679" y="2363380"/>
            <a:ext cx="0" cy="1698438"/>
          </a:xfrm>
          <a:prstGeom prst="line">
            <a:avLst/>
          </a:prstGeom>
          <a:ln w="762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398888CC-4EC3-4EF5-A7D9-F90BF66C43C1}"/>
              </a:ext>
            </a:extLst>
          </p:cNvPr>
          <p:cNvSpPr txBox="1"/>
          <p:nvPr/>
        </p:nvSpPr>
        <p:spPr bwMode="gray">
          <a:xfrm>
            <a:off x="6072883" y="1962926"/>
            <a:ext cx="3552130" cy="4809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Abweichung minimieren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45A7A4E-376A-49B7-8A36-95ACDBE128CC}"/>
              </a:ext>
            </a:extLst>
          </p:cNvPr>
          <p:cNvSpPr/>
          <p:nvPr/>
        </p:nvSpPr>
        <p:spPr bwMode="gray">
          <a:xfrm>
            <a:off x="8431152" y="3910953"/>
            <a:ext cx="2763054" cy="1589465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B8D62E-2982-4D82-B883-E0E4A1D8461E}"/>
              </a:ext>
            </a:extLst>
          </p:cNvPr>
          <p:cNvSpPr txBox="1"/>
          <p:nvPr/>
        </p:nvSpPr>
        <p:spPr bwMode="gray">
          <a:xfrm>
            <a:off x="8968403" y="7196700"/>
            <a:ext cx="1934818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Soll-Zustand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E140A7CC-7E77-409A-9994-CE075D2C959A}"/>
              </a:ext>
            </a:extLst>
          </p:cNvPr>
          <p:cNvSpPr/>
          <p:nvPr/>
        </p:nvSpPr>
        <p:spPr bwMode="gray">
          <a:xfrm>
            <a:off x="5575721" y="1637135"/>
            <a:ext cx="4456293" cy="1011353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7C49692-AF30-4080-B5D3-E3B2317CDF66}"/>
              </a:ext>
            </a:extLst>
          </p:cNvPr>
          <p:cNvSpPr txBox="1"/>
          <p:nvPr/>
        </p:nvSpPr>
        <p:spPr bwMode="gray">
          <a:xfrm>
            <a:off x="9625013" y="1383958"/>
            <a:ext cx="3369087" cy="339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Optimizer mit </a:t>
            </a:r>
            <a:r>
              <a:rPr lang="de-DE" sz="2400" b="1" dirty="0" err="1"/>
              <a:t>Lernrate</a:t>
            </a:r>
            <a:endParaRPr lang="de-DE" sz="2400" b="1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FE6690A-E9FB-4F4D-B772-EC3874437934}"/>
              </a:ext>
            </a:extLst>
          </p:cNvPr>
          <p:cNvSpPr txBox="1"/>
          <p:nvPr/>
        </p:nvSpPr>
        <p:spPr bwMode="gray">
          <a:xfrm>
            <a:off x="3984242" y="5825939"/>
            <a:ext cx="1016482" cy="34688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Model</a:t>
            </a:r>
          </a:p>
        </p:txBody>
      </p:sp>
      <p:pic>
        <p:nvPicPr>
          <p:cNvPr id="13" name="Grafik 12" descr="Lupe">
            <a:extLst>
              <a:ext uri="{FF2B5EF4-FFF2-40B4-BE49-F238E27FC236}">
                <a16:creationId xmlns:a16="http://schemas.microsoft.com/office/drawing/2014/main" id="{98505080-8329-429A-9738-1B24C42FDA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214527" y="2831825"/>
            <a:ext cx="4456294" cy="445629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353715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10" grpId="0" animBg="1"/>
      <p:bldP spid="11" grpId="0"/>
      <p:bldP spid="15" grpId="0"/>
      <p:bldP spid="25" grpId="0"/>
      <p:bldP spid="26" grpId="0" animBg="1"/>
      <p:bldP spid="27" grpId="0"/>
      <p:bldP spid="28" grpId="0" animBg="1"/>
      <p:bldP spid="29" grpId="0"/>
      <p:bldP spid="3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944" y="428651"/>
            <a:ext cx="15319048" cy="540000"/>
          </a:xfrm>
        </p:spPr>
        <p:txBody>
          <a:bodyPr/>
          <a:lstStyle/>
          <a:p>
            <a:r>
              <a:rPr lang="de-DE" dirty="0"/>
              <a:t>Aufbau neuronale Netze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8</a:t>
            </a:fld>
            <a:endParaRPr lang="de-DE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4320A44-6BE6-4534-9372-C7C6CD65CF14}"/>
              </a:ext>
            </a:extLst>
          </p:cNvPr>
          <p:cNvCxnSpPr>
            <a:cxnSpLocks/>
          </p:cNvCxnSpPr>
          <p:nvPr/>
        </p:nvCxnSpPr>
        <p:spPr bwMode="gray">
          <a:xfrm flipV="1">
            <a:off x="1043608" y="4648227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B9911B8F-B647-4E46-B0D1-0F07DE0C2966}"/>
              </a:ext>
            </a:extLst>
          </p:cNvPr>
          <p:cNvSpPr txBox="1"/>
          <p:nvPr/>
        </p:nvSpPr>
        <p:spPr bwMode="gray">
          <a:xfrm>
            <a:off x="1555474" y="4184375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Inpu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D5BE356-E948-4185-A364-AE9E4E06A012}"/>
              </a:ext>
            </a:extLst>
          </p:cNvPr>
          <p:cNvSpPr/>
          <p:nvPr/>
        </p:nvSpPr>
        <p:spPr bwMode="gray">
          <a:xfrm>
            <a:off x="3250096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1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ADEEB09C-4200-4291-9D9D-0F3ADFC5770F}"/>
              </a:ext>
            </a:extLst>
          </p:cNvPr>
          <p:cNvSpPr/>
          <p:nvPr/>
        </p:nvSpPr>
        <p:spPr bwMode="gray">
          <a:xfrm>
            <a:off x="5469835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2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77A62DDA-0F41-41FC-9498-83E49DF2ACDC}"/>
              </a:ext>
            </a:extLst>
          </p:cNvPr>
          <p:cNvSpPr/>
          <p:nvPr/>
        </p:nvSpPr>
        <p:spPr bwMode="gray">
          <a:xfrm>
            <a:off x="7689574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3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CC3377DF-1666-4A82-B387-8B520CE6591F}"/>
              </a:ext>
            </a:extLst>
          </p:cNvPr>
          <p:cNvSpPr/>
          <p:nvPr/>
        </p:nvSpPr>
        <p:spPr bwMode="gray">
          <a:xfrm>
            <a:off x="12076044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n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4CBAC8E-7887-41B4-A83A-D5202879F8F1}"/>
              </a:ext>
            </a:extLst>
          </p:cNvPr>
          <p:cNvCxnSpPr>
            <a:cxnSpLocks/>
          </p:cNvCxnSpPr>
          <p:nvPr/>
        </p:nvCxnSpPr>
        <p:spPr bwMode="gray">
          <a:xfrm flipV="1">
            <a:off x="13711583" y="4648227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B9C6A00A-D880-4782-9D93-6859511F644D}"/>
              </a:ext>
            </a:extLst>
          </p:cNvPr>
          <p:cNvSpPr txBox="1"/>
          <p:nvPr/>
        </p:nvSpPr>
        <p:spPr bwMode="gray">
          <a:xfrm>
            <a:off x="14109148" y="4184375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Output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CC6ADB86-438E-4AFB-9B61-81602ADC42F1}"/>
              </a:ext>
            </a:extLst>
          </p:cNvPr>
          <p:cNvSpPr/>
          <p:nvPr/>
        </p:nvSpPr>
        <p:spPr bwMode="gray">
          <a:xfrm>
            <a:off x="9395239" y="4416301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2598D17D-81E6-4514-9F56-066FFBF4848B}"/>
              </a:ext>
            </a:extLst>
          </p:cNvPr>
          <p:cNvSpPr/>
          <p:nvPr/>
        </p:nvSpPr>
        <p:spPr bwMode="gray">
          <a:xfrm>
            <a:off x="9977782" y="4416301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0D98E78C-EF77-49F0-A2F7-164AD761E7F1}"/>
              </a:ext>
            </a:extLst>
          </p:cNvPr>
          <p:cNvSpPr/>
          <p:nvPr/>
        </p:nvSpPr>
        <p:spPr bwMode="gray">
          <a:xfrm>
            <a:off x="10560325" y="4421311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E2C7A966-DBB4-4669-A33C-20C86090B2EE}"/>
              </a:ext>
            </a:extLst>
          </p:cNvPr>
          <p:cNvSpPr/>
          <p:nvPr/>
        </p:nvSpPr>
        <p:spPr bwMode="gray">
          <a:xfrm>
            <a:off x="11140657" y="4424409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6D1BDD9-90DE-468E-A2E0-0AF38AC9136F}"/>
              </a:ext>
            </a:extLst>
          </p:cNvPr>
          <p:cNvCxnSpPr>
            <a:cxnSpLocks/>
          </p:cNvCxnSpPr>
          <p:nvPr/>
        </p:nvCxnSpPr>
        <p:spPr bwMode="gray">
          <a:xfrm>
            <a:off x="4605409" y="4648227"/>
            <a:ext cx="677791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63E35FF0-01CA-411B-B325-82494F7CDDFE}"/>
              </a:ext>
            </a:extLst>
          </p:cNvPr>
          <p:cNvCxnSpPr>
            <a:cxnSpLocks/>
          </p:cNvCxnSpPr>
          <p:nvPr/>
        </p:nvCxnSpPr>
        <p:spPr bwMode="gray">
          <a:xfrm>
            <a:off x="6864905" y="4648227"/>
            <a:ext cx="677791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9" name="Grafik 18" descr="Lupe">
            <a:extLst>
              <a:ext uri="{FF2B5EF4-FFF2-40B4-BE49-F238E27FC236}">
                <a16:creationId xmlns:a16="http://schemas.microsoft.com/office/drawing/2014/main" id="{92AFC8E7-9B91-42BD-AEB4-E48A27D37D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52014" y="2878018"/>
            <a:ext cx="4456294" cy="445629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26858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23" grpId="0" animBg="1"/>
      <p:bldP spid="24" grpId="0" animBg="1"/>
      <p:bldP spid="31" grpId="0" animBg="1"/>
      <p:bldP spid="33" grpId="0"/>
      <p:bldP spid="13" grpId="0" animBg="1"/>
      <p:bldP spid="34" grpId="0" animBg="1"/>
      <p:bldP spid="35" grpId="0" animBg="1"/>
      <p:bldP spid="3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AAF5F-730D-4B4D-AAF5-BB333A91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unterschiedlicher Lay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EC838F-01C7-460E-A17E-C2913F329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6F021-10DC-4390-AB49-FEAC3C809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4BE5325A-A817-4CEB-8E86-A46795BC54A5}"/>
              </a:ext>
            </a:extLst>
          </p:cNvPr>
          <p:cNvSpPr/>
          <p:nvPr/>
        </p:nvSpPr>
        <p:spPr bwMode="gray">
          <a:xfrm>
            <a:off x="4868534" y="3577103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x</a:t>
            </a:r>
            <a:r>
              <a:rPr lang="de-DE" sz="1600" baseline="-25000" dirty="0"/>
              <a:t>1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DAF8F6-790C-43A8-892A-A75E383082BE}"/>
              </a:ext>
            </a:extLst>
          </p:cNvPr>
          <p:cNvSpPr/>
          <p:nvPr/>
        </p:nvSpPr>
        <p:spPr bwMode="gray">
          <a:xfrm>
            <a:off x="4868533" y="4415303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x</a:t>
            </a:r>
            <a:r>
              <a:rPr lang="de-DE" sz="1600" baseline="-25000" dirty="0"/>
              <a:t>2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54B681DA-A39C-455F-92F8-0EC95AB0AA27}"/>
              </a:ext>
            </a:extLst>
          </p:cNvPr>
          <p:cNvSpPr/>
          <p:nvPr/>
        </p:nvSpPr>
        <p:spPr bwMode="gray">
          <a:xfrm>
            <a:off x="4868532" y="5253503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x</a:t>
            </a:r>
            <a:r>
              <a:rPr lang="de-DE" sz="1600" baseline="-25000" dirty="0"/>
              <a:t>3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7EA4DBE-930A-4B01-9CE4-75ED939EFC23}"/>
              </a:ext>
            </a:extLst>
          </p:cNvPr>
          <p:cNvSpPr/>
          <p:nvPr/>
        </p:nvSpPr>
        <p:spPr bwMode="gray">
          <a:xfrm>
            <a:off x="7439282" y="2439045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1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0E9DC372-7945-4CFB-BEA5-5B907298CBAC}"/>
              </a:ext>
            </a:extLst>
          </p:cNvPr>
          <p:cNvSpPr/>
          <p:nvPr/>
        </p:nvSpPr>
        <p:spPr bwMode="gray">
          <a:xfrm>
            <a:off x="7439281" y="3419618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2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45A4BCB2-B2CF-4F21-852B-6C7A35BA84E0}"/>
              </a:ext>
            </a:extLst>
          </p:cNvPr>
          <p:cNvSpPr/>
          <p:nvPr/>
        </p:nvSpPr>
        <p:spPr bwMode="gray">
          <a:xfrm>
            <a:off x="7439280" y="4401982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3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B16B448-7693-47A5-89EC-A0DAC956E39B}"/>
              </a:ext>
            </a:extLst>
          </p:cNvPr>
          <p:cNvSpPr/>
          <p:nvPr/>
        </p:nvSpPr>
        <p:spPr bwMode="gray">
          <a:xfrm>
            <a:off x="7439274" y="5406620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4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09B95164-A107-4C2B-8B33-F96721BFA4F5}"/>
              </a:ext>
            </a:extLst>
          </p:cNvPr>
          <p:cNvSpPr/>
          <p:nvPr/>
        </p:nvSpPr>
        <p:spPr bwMode="gray">
          <a:xfrm>
            <a:off x="7439278" y="6385258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5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D6ADB11-8F3D-4C14-85A3-31BF5AAE777B}"/>
              </a:ext>
            </a:extLst>
          </p:cNvPr>
          <p:cNvSpPr/>
          <p:nvPr/>
        </p:nvSpPr>
        <p:spPr bwMode="gray">
          <a:xfrm>
            <a:off x="9901742" y="4004152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y</a:t>
            </a:r>
            <a:r>
              <a:rPr lang="de-DE" sz="1600" baseline="-25000" dirty="0"/>
              <a:t>1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21DEC6B-A202-4E18-9BD5-000F1D5378DE}"/>
              </a:ext>
            </a:extLst>
          </p:cNvPr>
          <p:cNvSpPr/>
          <p:nvPr/>
        </p:nvSpPr>
        <p:spPr bwMode="gray">
          <a:xfrm>
            <a:off x="9901741" y="4842352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y</a:t>
            </a:r>
            <a:r>
              <a:rPr lang="de-DE" sz="1600" baseline="-25000" dirty="0"/>
              <a:t>2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BB6693F7-76A8-4D3C-982E-DCDE45FA8CFE}"/>
              </a:ext>
            </a:extLst>
          </p:cNvPr>
          <p:cNvCxnSpPr>
            <a:stCxn id="6" idx="6"/>
            <a:endCxn id="9" idx="2"/>
          </p:cNvCxnSpPr>
          <p:nvPr/>
        </p:nvCxnSpPr>
        <p:spPr bwMode="gray">
          <a:xfrm flipV="1">
            <a:off x="5542303" y="2769914"/>
            <a:ext cx="1896979" cy="11380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F1AB3A1-E51B-41EA-B2EA-B365CE5981E0}"/>
              </a:ext>
            </a:extLst>
          </p:cNvPr>
          <p:cNvCxnSpPr>
            <a:stCxn id="6" idx="6"/>
            <a:endCxn id="10" idx="2"/>
          </p:cNvCxnSpPr>
          <p:nvPr/>
        </p:nvCxnSpPr>
        <p:spPr bwMode="gray">
          <a:xfrm flipV="1">
            <a:off x="5542303" y="3750487"/>
            <a:ext cx="1896978" cy="1574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7B214FD-3233-4141-84FB-D0FF283727AB}"/>
              </a:ext>
            </a:extLst>
          </p:cNvPr>
          <p:cNvCxnSpPr>
            <a:stCxn id="6" idx="6"/>
            <a:endCxn id="11" idx="2"/>
          </p:cNvCxnSpPr>
          <p:nvPr/>
        </p:nvCxnSpPr>
        <p:spPr bwMode="gray">
          <a:xfrm>
            <a:off x="5542303" y="3907972"/>
            <a:ext cx="1896977" cy="82487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E14D362-F5E3-4781-BE33-1E0A9AD9B6AB}"/>
              </a:ext>
            </a:extLst>
          </p:cNvPr>
          <p:cNvCxnSpPr>
            <a:stCxn id="6" idx="6"/>
            <a:endCxn id="12" idx="2"/>
          </p:cNvCxnSpPr>
          <p:nvPr/>
        </p:nvCxnSpPr>
        <p:spPr bwMode="gray">
          <a:xfrm>
            <a:off x="5542303" y="3907972"/>
            <a:ext cx="1896971" cy="18295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F6448EA1-AB51-44EA-BDD1-4AAA588F26F1}"/>
              </a:ext>
            </a:extLst>
          </p:cNvPr>
          <p:cNvCxnSpPr>
            <a:stCxn id="6" idx="6"/>
            <a:endCxn id="13" idx="2"/>
          </p:cNvCxnSpPr>
          <p:nvPr/>
        </p:nvCxnSpPr>
        <p:spPr bwMode="gray">
          <a:xfrm>
            <a:off x="5542303" y="3907972"/>
            <a:ext cx="1896975" cy="2808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3621753-79BE-480C-A74E-371D210FAF46}"/>
              </a:ext>
            </a:extLst>
          </p:cNvPr>
          <p:cNvCxnSpPr>
            <a:stCxn id="7" idx="6"/>
            <a:endCxn id="9" idx="2"/>
          </p:cNvCxnSpPr>
          <p:nvPr/>
        </p:nvCxnSpPr>
        <p:spPr bwMode="gray">
          <a:xfrm flipV="1">
            <a:off x="5542302" y="2769914"/>
            <a:ext cx="1896980" cy="19762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5711AC6A-9E57-417E-9B30-03617F6BC2F9}"/>
              </a:ext>
            </a:extLst>
          </p:cNvPr>
          <p:cNvCxnSpPr>
            <a:stCxn id="7" idx="6"/>
            <a:endCxn id="10" idx="2"/>
          </p:cNvCxnSpPr>
          <p:nvPr/>
        </p:nvCxnSpPr>
        <p:spPr bwMode="gray">
          <a:xfrm flipV="1">
            <a:off x="5542302" y="3750487"/>
            <a:ext cx="1896979" cy="9956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FAD8988-FD8A-4C31-9CFD-E2B4D5D3E61F}"/>
              </a:ext>
            </a:extLst>
          </p:cNvPr>
          <p:cNvCxnSpPr>
            <a:stCxn id="7" idx="6"/>
            <a:endCxn id="11" idx="2"/>
          </p:cNvCxnSpPr>
          <p:nvPr/>
        </p:nvCxnSpPr>
        <p:spPr bwMode="gray">
          <a:xfrm flipV="1">
            <a:off x="5542302" y="4732851"/>
            <a:ext cx="1896978" cy="1332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0B58F063-874A-4E62-BCFB-A33CF794CABC}"/>
              </a:ext>
            </a:extLst>
          </p:cNvPr>
          <p:cNvCxnSpPr>
            <a:stCxn id="7" idx="6"/>
            <a:endCxn id="12" idx="2"/>
          </p:cNvCxnSpPr>
          <p:nvPr/>
        </p:nvCxnSpPr>
        <p:spPr bwMode="gray">
          <a:xfrm>
            <a:off x="5542302" y="4746172"/>
            <a:ext cx="1896972" cy="991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D4C81D6-2A62-4A47-A751-58E4FFA134C0}"/>
              </a:ext>
            </a:extLst>
          </p:cNvPr>
          <p:cNvCxnSpPr>
            <a:stCxn id="7" idx="6"/>
            <a:endCxn id="13" idx="2"/>
          </p:cNvCxnSpPr>
          <p:nvPr/>
        </p:nvCxnSpPr>
        <p:spPr bwMode="gray">
          <a:xfrm>
            <a:off x="5542302" y="4746172"/>
            <a:ext cx="1896976" cy="19699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043ACA1-E2F7-45B9-830A-8EB4D5D58BE1}"/>
              </a:ext>
            </a:extLst>
          </p:cNvPr>
          <p:cNvCxnSpPr>
            <a:stCxn id="8" idx="6"/>
            <a:endCxn id="9" idx="2"/>
          </p:cNvCxnSpPr>
          <p:nvPr/>
        </p:nvCxnSpPr>
        <p:spPr bwMode="gray">
          <a:xfrm flipV="1">
            <a:off x="5542301" y="2769914"/>
            <a:ext cx="1896981" cy="28144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F985F33-75B6-427A-AFE9-E66F9865757C}"/>
              </a:ext>
            </a:extLst>
          </p:cNvPr>
          <p:cNvCxnSpPr>
            <a:stCxn id="8" idx="6"/>
            <a:endCxn id="10" idx="2"/>
          </p:cNvCxnSpPr>
          <p:nvPr/>
        </p:nvCxnSpPr>
        <p:spPr bwMode="gray">
          <a:xfrm flipV="1">
            <a:off x="5542301" y="3750487"/>
            <a:ext cx="1896980" cy="18338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1333550-186D-45B5-966E-362FB68DF712}"/>
              </a:ext>
            </a:extLst>
          </p:cNvPr>
          <p:cNvCxnSpPr>
            <a:stCxn id="8" idx="6"/>
            <a:endCxn id="11" idx="2"/>
          </p:cNvCxnSpPr>
          <p:nvPr/>
        </p:nvCxnSpPr>
        <p:spPr bwMode="gray">
          <a:xfrm flipV="1">
            <a:off x="5542301" y="4732851"/>
            <a:ext cx="1896979" cy="85152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27EE37D3-61E4-4052-8202-52F1D9C058D0}"/>
              </a:ext>
            </a:extLst>
          </p:cNvPr>
          <p:cNvCxnSpPr>
            <a:stCxn id="8" idx="6"/>
            <a:endCxn id="12" idx="2"/>
          </p:cNvCxnSpPr>
          <p:nvPr/>
        </p:nvCxnSpPr>
        <p:spPr bwMode="gray">
          <a:xfrm>
            <a:off x="5542301" y="5584372"/>
            <a:ext cx="1896973" cy="1531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15E25BB8-46DC-4ABE-ABDF-24F98344D940}"/>
              </a:ext>
            </a:extLst>
          </p:cNvPr>
          <p:cNvCxnSpPr>
            <a:stCxn id="8" idx="6"/>
            <a:endCxn id="13" idx="2"/>
          </p:cNvCxnSpPr>
          <p:nvPr/>
        </p:nvCxnSpPr>
        <p:spPr bwMode="gray">
          <a:xfrm>
            <a:off x="5542301" y="5584372"/>
            <a:ext cx="1896977" cy="11317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9C019A8-5015-48F4-83D1-19799450D163}"/>
              </a:ext>
            </a:extLst>
          </p:cNvPr>
          <p:cNvCxnSpPr>
            <a:stCxn id="9" idx="6"/>
            <a:endCxn id="14" idx="2"/>
          </p:cNvCxnSpPr>
          <p:nvPr/>
        </p:nvCxnSpPr>
        <p:spPr bwMode="gray">
          <a:xfrm>
            <a:off x="8113051" y="2769914"/>
            <a:ext cx="1788691" cy="156510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1624DC9E-A99A-4DBB-AACE-9F0FD19DC217}"/>
              </a:ext>
            </a:extLst>
          </p:cNvPr>
          <p:cNvCxnSpPr>
            <a:stCxn id="10" idx="6"/>
            <a:endCxn id="14" idx="2"/>
          </p:cNvCxnSpPr>
          <p:nvPr/>
        </p:nvCxnSpPr>
        <p:spPr bwMode="gray">
          <a:xfrm>
            <a:off x="8113050" y="3750487"/>
            <a:ext cx="1788692" cy="58453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19984FB8-27E7-475F-AB22-65249E439E41}"/>
              </a:ext>
            </a:extLst>
          </p:cNvPr>
          <p:cNvCxnSpPr>
            <a:stCxn id="9" idx="6"/>
            <a:endCxn id="15" idx="2"/>
          </p:cNvCxnSpPr>
          <p:nvPr/>
        </p:nvCxnSpPr>
        <p:spPr bwMode="gray">
          <a:xfrm>
            <a:off x="8113051" y="2769914"/>
            <a:ext cx="1788690" cy="240330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1E389760-E9FC-47F4-9CEE-82614B453DE3}"/>
              </a:ext>
            </a:extLst>
          </p:cNvPr>
          <p:cNvCxnSpPr>
            <a:stCxn id="10" idx="6"/>
            <a:endCxn id="15" idx="2"/>
          </p:cNvCxnSpPr>
          <p:nvPr/>
        </p:nvCxnSpPr>
        <p:spPr bwMode="gray">
          <a:xfrm>
            <a:off x="8113050" y="3750487"/>
            <a:ext cx="1788691" cy="142273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DA073A93-AAF3-447D-A867-FFC54D225CE9}"/>
              </a:ext>
            </a:extLst>
          </p:cNvPr>
          <p:cNvCxnSpPr>
            <a:stCxn id="11" idx="6"/>
            <a:endCxn id="14" idx="2"/>
          </p:cNvCxnSpPr>
          <p:nvPr/>
        </p:nvCxnSpPr>
        <p:spPr bwMode="gray">
          <a:xfrm flipV="1">
            <a:off x="8113049" y="4335021"/>
            <a:ext cx="1788693" cy="39783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3C052C39-3B65-4191-B68F-4B97BFD6B41C}"/>
              </a:ext>
            </a:extLst>
          </p:cNvPr>
          <p:cNvCxnSpPr>
            <a:stCxn id="11" idx="6"/>
            <a:endCxn id="15" idx="2"/>
          </p:cNvCxnSpPr>
          <p:nvPr/>
        </p:nvCxnSpPr>
        <p:spPr bwMode="gray">
          <a:xfrm>
            <a:off x="8113049" y="4732851"/>
            <a:ext cx="1788692" cy="4403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6B4F4D29-C20E-4A8D-8137-7DCBF6883A92}"/>
              </a:ext>
            </a:extLst>
          </p:cNvPr>
          <p:cNvCxnSpPr>
            <a:stCxn id="12" idx="6"/>
            <a:endCxn id="14" idx="2"/>
          </p:cNvCxnSpPr>
          <p:nvPr/>
        </p:nvCxnSpPr>
        <p:spPr bwMode="gray">
          <a:xfrm flipV="1">
            <a:off x="8113043" y="4335021"/>
            <a:ext cx="1788699" cy="140246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8D9D9F6D-ACA7-4004-9757-927672B8E3A6}"/>
              </a:ext>
            </a:extLst>
          </p:cNvPr>
          <p:cNvCxnSpPr>
            <a:stCxn id="12" idx="6"/>
            <a:endCxn id="15" idx="2"/>
          </p:cNvCxnSpPr>
          <p:nvPr/>
        </p:nvCxnSpPr>
        <p:spPr bwMode="gray">
          <a:xfrm flipV="1">
            <a:off x="8113043" y="5173221"/>
            <a:ext cx="1788698" cy="56426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9250F2EB-E060-47A8-A2EB-6CA00CBA9AE6}"/>
              </a:ext>
            </a:extLst>
          </p:cNvPr>
          <p:cNvCxnSpPr>
            <a:stCxn id="13" idx="6"/>
            <a:endCxn id="14" idx="2"/>
          </p:cNvCxnSpPr>
          <p:nvPr/>
        </p:nvCxnSpPr>
        <p:spPr bwMode="gray">
          <a:xfrm flipV="1">
            <a:off x="8113047" y="4335021"/>
            <a:ext cx="1788695" cy="238110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492231EB-D2C5-4EFD-82AD-051563DBE24D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 bwMode="gray">
          <a:xfrm flipV="1">
            <a:off x="8113047" y="5173221"/>
            <a:ext cx="1788694" cy="154290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feld 70">
            <a:extLst>
              <a:ext uri="{FF2B5EF4-FFF2-40B4-BE49-F238E27FC236}">
                <a16:creationId xmlns:a16="http://schemas.microsoft.com/office/drawing/2014/main" id="{F0966784-CBBC-4BAC-9374-81E6B3D79920}"/>
              </a:ext>
            </a:extLst>
          </p:cNvPr>
          <p:cNvSpPr txBox="1"/>
          <p:nvPr/>
        </p:nvSpPr>
        <p:spPr bwMode="gray">
          <a:xfrm>
            <a:off x="4940721" y="7459246"/>
            <a:ext cx="529389" cy="372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1800" dirty="0"/>
              <a:t>Input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C00AD00B-5998-46EA-A080-DC7D72D1BD37}"/>
              </a:ext>
            </a:extLst>
          </p:cNvPr>
          <p:cNvSpPr txBox="1"/>
          <p:nvPr/>
        </p:nvSpPr>
        <p:spPr bwMode="gray">
          <a:xfrm>
            <a:off x="7395160" y="7459246"/>
            <a:ext cx="762004" cy="372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1800" dirty="0"/>
              <a:t>Hidden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4763AF7A-5FF5-4BA3-B8F2-3E2483BB84A7}"/>
              </a:ext>
            </a:extLst>
          </p:cNvPr>
          <p:cNvSpPr txBox="1"/>
          <p:nvPr/>
        </p:nvSpPr>
        <p:spPr bwMode="gray">
          <a:xfrm>
            <a:off x="9877429" y="7473714"/>
            <a:ext cx="673769" cy="372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1800" dirty="0"/>
              <a:t>Output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7575F95-D7BE-4E7A-B69C-1968EF5A3EF4}"/>
              </a:ext>
            </a:extLst>
          </p:cNvPr>
          <p:cNvSpPr txBox="1"/>
          <p:nvPr/>
        </p:nvSpPr>
        <p:spPr bwMode="gray">
          <a:xfrm>
            <a:off x="438942" y="1667531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/>
              <a:t>Fully </a:t>
            </a:r>
            <a:r>
              <a:rPr lang="de-DE" sz="2800" b="1" dirty="0" err="1"/>
              <a:t>Connected</a:t>
            </a:r>
            <a:r>
              <a:rPr lang="de-DE" sz="2800" b="1" dirty="0"/>
              <a:t> Layer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13C0D65A-2430-4549-AE34-3F2283B8DDF5}"/>
              </a:ext>
            </a:extLst>
          </p:cNvPr>
          <p:cNvSpPr txBox="1"/>
          <p:nvPr/>
        </p:nvSpPr>
        <p:spPr bwMode="gray">
          <a:xfrm>
            <a:off x="438943" y="2655379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>
                <a:sym typeface="Wingdings" panose="05000000000000000000" pitchFamily="2" charset="2"/>
              </a:rPr>
              <a:t> „Jeder mit jedem“ </a:t>
            </a:r>
            <a:endParaRPr lang="de-DE" sz="2800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7" name="Rechteck: abgerundete Ecken 106">
                <a:extLst>
                  <a:ext uri="{FF2B5EF4-FFF2-40B4-BE49-F238E27FC236}">
                    <a16:creationId xmlns:a16="http://schemas.microsoft.com/office/drawing/2014/main" id="{179511C6-4E51-4927-848D-236BEB3FDD6D}"/>
                  </a:ext>
                </a:extLst>
              </p:cNvPr>
              <p:cNvSpPr/>
              <p:nvPr/>
            </p:nvSpPr>
            <p:spPr bwMode="gray">
              <a:xfrm>
                <a:off x="11862190" y="4273485"/>
                <a:ext cx="2081463" cy="918731"/>
              </a:xfrm>
              <a:prstGeom prst="round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ts val="2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</m:oMath>
                  </m:oMathPara>
                </a14:m>
                <a:endParaRPr lang="de-DE" sz="1600" b="0" dirty="0"/>
              </a:p>
              <a:p>
                <a:pPr algn="ctr">
                  <a:lnSpc>
                    <a:spcPts val="2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 err="1"/>
              </a:p>
            </p:txBody>
          </p:sp>
        </mc:Choice>
        <mc:Fallback>
          <p:sp>
            <p:nvSpPr>
              <p:cNvPr id="107" name="Rechteck: abgerundete Ecken 106">
                <a:extLst>
                  <a:ext uri="{FF2B5EF4-FFF2-40B4-BE49-F238E27FC236}">
                    <a16:creationId xmlns:a16="http://schemas.microsoft.com/office/drawing/2014/main" id="{179511C6-4E51-4927-848D-236BEB3FDD6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1862190" y="4273485"/>
                <a:ext cx="2081463" cy="918731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8" name="Denkblase: wolkenförmig 107">
            <a:extLst>
              <a:ext uri="{FF2B5EF4-FFF2-40B4-BE49-F238E27FC236}">
                <a16:creationId xmlns:a16="http://schemas.microsoft.com/office/drawing/2014/main" id="{958A4AE8-771A-46CE-9240-8A5BAD6013FD}"/>
              </a:ext>
            </a:extLst>
          </p:cNvPr>
          <p:cNvSpPr/>
          <p:nvPr/>
        </p:nvSpPr>
        <p:spPr bwMode="gray">
          <a:xfrm>
            <a:off x="12380496" y="2201779"/>
            <a:ext cx="3292974" cy="1354591"/>
          </a:xfrm>
          <a:prstGeom prst="cloudCallout">
            <a:avLst>
              <a:gd name="adj1" fmla="val -41452"/>
              <a:gd name="adj2" fmla="val 110937"/>
            </a:avLst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Aktivierungsfunktion</a:t>
            </a:r>
          </a:p>
          <a:p>
            <a:pPr algn="ctr">
              <a:lnSpc>
                <a:spcPts val="2000"/>
              </a:lnSpc>
            </a:pPr>
            <a:r>
              <a:rPr lang="de-DE" sz="1600" dirty="0">
                <a:sym typeface="Wingdings" panose="05000000000000000000" pitchFamily="2" charset="2"/>
              </a:rPr>
              <a:t> Nicht-Linearität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91306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71" grpId="0"/>
      <p:bldP spid="72" grpId="0"/>
      <p:bldP spid="73" grpId="0"/>
      <p:bldP spid="74" grpId="0"/>
      <p:bldP spid="106" grpId="0"/>
      <p:bldP spid="107" grpId="0" animBg="1"/>
      <p:bldP spid="10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QAware">
  <a:themeElements>
    <a:clrScheme name="QAware">
      <a:dk1>
        <a:srgbClr val="242424"/>
      </a:dk1>
      <a:lt1>
        <a:sysClr val="window" lastClr="FFFFFF"/>
      </a:lt1>
      <a:dk2>
        <a:srgbClr val="BABABA"/>
      </a:dk2>
      <a:lt2>
        <a:srgbClr val="565656"/>
      </a:lt2>
      <a:accent1>
        <a:srgbClr val="28507D"/>
      </a:accent1>
      <a:accent2>
        <a:srgbClr val="3981C7"/>
      </a:accent2>
      <a:accent3>
        <a:srgbClr val="6EACF2"/>
      </a:accent3>
      <a:accent4>
        <a:srgbClr val="9CCEFF"/>
      </a:accent4>
      <a:accent5>
        <a:srgbClr val="E5E5E5"/>
      </a:accent5>
      <a:accent6>
        <a:srgbClr val="7F7F7F"/>
      </a:accent6>
      <a:hlink>
        <a:srgbClr val="28507D"/>
      </a:hlink>
      <a:folHlink>
        <a:srgbClr val="6EACF2"/>
      </a:folHlink>
    </a:clrScheme>
    <a:fontScheme name="Univers LT Std 45 Light">
      <a:majorFont>
        <a:latin typeface="Univers LT Std 45 Light"/>
        <a:ea typeface=""/>
        <a:cs typeface="Arial"/>
      </a:majorFont>
      <a:minorFont>
        <a:latin typeface="Univers LT Std 45 Light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>
          <a:noFill/>
        </a:ln>
      </a:spPr>
      <a:bodyPr rtlCol="0" anchor="ctr"/>
      <a:lstStyle>
        <a:defPPr algn="ctr">
          <a:lnSpc>
            <a:spcPts val="2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81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396000" indent="-396000">
          <a:lnSpc>
            <a:spcPts val="2800"/>
          </a:lnSpc>
          <a:spcAft>
            <a:spcPts val="1200"/>
          </a:spcAft>
          <a:buBlip>
            <a:blip xmlns:r="http://schemas.openxmlformats.org/officeDocument/2006/relationships" r:embed="rId1"/>
          </a:buBlip>
          <a:defRPr sz="2400" dirty="0" err="1"/>
        </a:defPPr>
      </a:lstStyle>
    </a:txDef>
  </a:objectDefaults>
  <a:extraClrSchemeLst/>
  <a:custClrLst>
    <a:custClr name="Grau1">
      <a:srgbClr val="242424"/>
    </a:custClr>
    <a:custClr name="Grau2">
      <a:srgbClr val="565656"/>
    </a:custClr>
    <a:custClr name="Grau3">
      <a:srgbClr val="BABABA"/>
    </a:custClr>
    <a:custClr name="Grau4">
      <a:srgbClr val="E3E3E3"/>
    </a:custClr>
    <a:custClr name="Weiss">
      <a:srgbClr val="FFFFFF"/>
    </a:custClr>
    <a:custClr name="Blau1">
      <a:srgbClr val="28537D"/>
    </a:custClr>
    <a:custClr name="Blau2">
      <a:srgbClr val="3981C7"/>
    </a:custClr>
    <a:custClr name="Blau3">
      <a:srgbClr val="6EACF2"/>
    </a:custClr>
    <a:custClr name="Blau4">
      <a:srgbClr val="9CCEFF"/>
    </a:custClr>
    <a:custClr name="Gruen">
      <a:srgbClr val="85B026"/>
    </a:custClr>
    <a:custClr name="Rosa">
      <a:srgbClr val="E33B58"/>
    </a:custClr>
    <a:custClr name="Gelb">
      <a:srgbClr val="F0B52A"/>
    </a:custClr>
    <a:custClr name="Blutgruppe01">
      <a:srgbClr val="22B3E3"/>
    </a:custClr>
    <a:custClr name="Blutgruppe02">
      <a:srgbClr val="65CAEB"/>
    </a:custClr>
    <a:custClr name="Blutgruppe03">
      <a:srgbClr val="187D9E"/>
    </a:custClr>
    <a:custClr name="BlutgruppeA1">
      <a:srgbClr val="2263BC"/>
    </a:custClr>
    <a:custClr name="BlutgruppeA2">
      <a:srgbClr val="6592D0"/>
    </a:custClr>
    <a:custClr name="BlutgruppeA3">
      <a:srgbClr val="184583"/>
    </a:custClr>
    <a:custClr name="BlutgruppeAT1">
      <a:srgbClr val="CA1940"/>
    </a:custClr>
    <a:custClr name="BlutgruppeAT2">
      <a:srgbClr val="DA5E7A"/>
    </a:custClr>
    <a:custClr name="BlutgruppeAT3">
      <a:srgbClr val="8D112D"/>
    </a:custClr>
    <a:custClr name="BlutgruppeT1">
      <a:srgbClr val="1DB04D"/>
    </a:custClr>
    <a:custClr name="BlutgruppeT2">
      <a:srgbClr val="61C883"/>
    </a:custClr>
    <a:custClr name="BlutgruppeT3">
      <a:srgbClr val="147B36"/>
    </a:custClr>
    <a:custClr name="BlutgruppeR1">
      <a:srgbClr val="F06D1F"/>
    </a:custClr>
    <a:custClr name="BlutgruppeR2">
      <a:srgbClr val="F59963"/>
    </a:custClr>
    <a:custClr name="BlutgruppeR3">
      <a:srgbClr val="A84C16"/>
    </a:custClr>
    <a:custClr name="BlutgruppeTI1">
      <a:srgbClr val="565656"/>
    </a:custClr>
    <a:custClr name="AgendaGrau">
      <a:srgbClr val="94A9BE"/>
    </a:custClr>
  </a:custClrLst>
  <a:extLst>
    <a:ext uri="{05A4C25C-085E-4340-85A3-A5531E510DB2}">
      <thm15:themeFamily xmlns:thm15="http://schemas.microsoft.com/office/thememl/2012/main" name="QAware_Folienmaster.pptx" id="{73FF3D8D-B565-408C-B18F-C24323838715}" vid="{5A1EC507-FFCD-4596-9999-71445F166959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_Folienmaster</Template>
  <TotalTime>0</TotalTime>
  <Words>332</Words>
  <Application>Microsoft Office PowerPoint</Application>
  <PresentationFormat>Benutzerdefiniert</PresentationFormat>
  <Paragraphs>129</Paragraphs>
  <Slides>1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Arial</vt:lpstr>
      <vt:lpstr>Cambria Math</vt:lpstr>
      <vt:lpstr>Source Code Pro</vt:lpstr>
      <vt:lpstr>Univers LT Std 45 Light</vt:lpstr>
      <vt:lpstr>Wingdings</vt:lpstr>
      <vt:lpstr>QAware</vt:lpstr>
      <vt:lpstr>think-cell Folie</vt:lpstr>
      <vt:lpstr>Künstliche Intelligenz  Wie intelligent sind künstliche neuronale Netze wirklich?</vt:lpstr>
      <vt:lpstr>PowerPoint-Präsentation</vt:lpstr>
      <vt:lpstr>PowerPoint-Präsentation</vt:lpstr>
      <vt:lpstr>Ein neuer Denkansatz</vt:lpstr>
      <vt:lpstr>Buzzword Bingo</vt:lpstr>
      <vt:lpstr>PowerPoint-Präsentation</vt:lpstr>
      <vt:lpstr>Grundprinzip neuronale Netze </vt:lpstr>
      <vt:lpstr>Aufbau neuronale Netze </vt:lpstr>
      <vt:lpstr>Aufbau unterschiedlicher Layer </vt:lpstr>
      <vt:lpstr>Aufbau unterschiedlicher Layer </vt:lpstr>
      <vt:lpstr>Aufbau unterschiedlicher Layer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QAwar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</dc:title>
  <dc:creator>wilhelm.haas@qaware.de</dc:creator>
  <cp:lastModifiedBy>Veronika Dashuber</cp:lastModifiedBy>
  <cp:revision>232</cp:revision>
  <cp:lastPrinted>2017-06-12T08:59:44Z</cp:lastPrinted>
  <dcterms:created xsi:type="dcterms:W3CDTF">2018-04-05T06:19:18Z</dcterms:created>
  <dcterms:modified xsi:type="dcterms:W3CDTF">2018-11-19T16:11:38Z</dcterms:modified>
</cp:coreProperties>
</file>